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53"/>
  </p:notesMasterIdLst>
  <p:handoutMasterIdLst>
    <p:handoutMasterId r:id="rId54"/>
  </p:handoutMasterIdLst>
  <p:sldIdLst>
    <p:sldId id="256" r:id="rId3"/>
    <p:sldId id="261" r:id="rId4"/>
    <p:sldId id="263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76" r:id="rId13"/>
    <p:sldId id="277" r:id="rId14"/>
    <p:sldId id="278" r:id="rId15"/>
    <p:sldId id="272" r:id="rId16"/>
    <p:sldId id="279" r:id="rId17"/>
    <p:sldId id="273" r:id="rId18"/>
    <p:sldId id="274" r:id="rId19"/>
    <p:sldId id="280" r:id="rId20"/>
    <p:sldId id="310" r:id="rId21"/>
    <p:sldId id="281" r:id="rId22"/>
    <p:sldId id="259" r:id="rId23"/>
    <p:sldId id="282" r:id="rId24"/>
    <p:sldId id="283" r:id="rId25"/>
    <p:sldId id="266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  <p:sldId id="296" r:id="rId39"/>
    <p:sldId id="309" r:id="rId40"/>
    <p:sldId id="297" r:id="rId41"/>
    <p:sldId id="298" r:id="rId42"/>
    <p:sldId id="299" r:id="rId43"/>
    <p:sldId id="300" r:id="rId44"/>
    <p:sldId id="301" r:id="rId45"/>
    <p:sldId id="302" r:id="rId46"/>
    <p:sldId id="303" r:id="rId47"/>
    <p:sldId id="304" r:id="rId48"/>
    <p:sldId id="305" r:id="rId49"/>
    <p:sldId id="306" r:id="rId50"/>
    <p:sldId id="307" r:id="rId51"/>
    <p:sldId id="308" r:id="rId52"/>
  </p:sldIdLst>
  <p:sldSz cx="12192000" cy="6858000"/>
  <p:notesSz cx="9925050" cy="6665913"/>
  <p:custDataLst>
    <p:tags r:id="rId5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1"/>
            <p14:sldId id="263"/>
            <p14:sldId id="264"/>
            <p14:sldId id="267"/>
            <p14:sldId id="268"/>
            <p14:sldId id="269"/>
            <p14:sldId id="270"/>
            <p14:sldId id="271"/>
            <p14:sldId id="275"/>
            <p14:sldId id="276"/>
            <p14:sldId id="277"/>
            <p14:sldId id="278"/>
            <p14:sldId id="272"/>
            <p14:sldId id="279"/>
            <p14:sldId id="273"/>
            <p14:sldId id="274"/>
            <p14:sldId id="280"/>
            <p14:sldId id="310"/>
            <p14:sldId id="281"/>
            <p14:sldId id="259"/>
          </p14:sldIdLst>
        </p14:section>
        <p14:section name="Backup" id="{919139A4-ADE2-4564-AE13-E4B8AE78359D}">
          <p14:sldIdLst>
            <p14:sldId id="282"/>
            <p14:sldId id="283"/>
            <p14:sldId id="266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309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C6EA"/>
    <a:srgbClr val="5CF0D4"/>
    <a:srgbClr val="999999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1" autoAdjust="0"/>
    <p:restoredTop sz="88283" autoAdjust="0"/>
  </p:normalViewPr>
  <p:slideViewPr>
    <p:cSldViewPr>
      <p:cViewPr>
        <p:scale>
          <a:sx n="75" d="100"/>
          <a:sy n="75" d="100"/>
        </p:scale>
        <p:origin x="1818" y="12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4/02/2024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14.02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531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t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88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13" name="Grafik 12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2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5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4728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6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425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5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38" name="Bildplatzhalter 49"/>
          <p:cNvSpPr>
            <a:spLocks noGrp="1"/>
          </p:cNvSpPr>
          <p:nvPr>
            <p:ph type="pic" sz="quarter" idx="45" hasCustomPrompt="1"/>
          </p:nvPr>
        </p:nvSpPr>
        <p:spPr>
          <a:xfrm>
            <a:off x="10687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384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384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47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0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1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Textfeld 66"/>
          <p:cNvSpPr txBox="1"/>
          <p:nvPr userDrawn="1"/>
        </p:nvSpPr>
        <p:spPr>
          <a:xfrm>
            <a:off x="425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8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2353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9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1283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6384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53" hasCustomPrompt="1"/>
          </p:nvPr>
        </p:nvSpPr>
        <p:spPr>
          <a:xfrm>
            <a:off x="8312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54" hasCustomPrompt="1"/>
          </p:nvPr>
        </p:nvSpPr>
        <p:spPr>
          <a:xfrm>
            <a:off x="7242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5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6" name="Gerader Verbinder 3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</p:spTree>
    <p:extLst>
      <p:ext uri="{BB962C8B-B14F-4D97-AF65-F5344CB8AC3E}">
        <p14:creationId xmlns:p14="http://schemas.microsoft.com/office/powerpoint/2010/main" val="394019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1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3635701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351472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noProof="0" dirty="0"/>
              <a:t>163 7180148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err="1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Institute for Machine Tools and Industrial Management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, Technische Universität München, </a:t>
            </a:r>
            <a:r>
              <a:rPr lang="de-DE" sz="900" dirty="0" err="1">
                <a:solidFill>
                  <a:schemeClr val="bg1">
                    <a:lumMod val="75000"/>
                  </a:schemeClr>
                </a:solidFill>
              </a:rPr>
              <a:t>Boltzmannstraße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dirty="0"/>
              <a:t>172 8396287</a:t>
            </a:r>
            <a:endParaRPr lang="de-DE" sz="1200" baseline="0" dirty="0"/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159998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996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1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4018763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33294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0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0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76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34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3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6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6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4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6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7" name="Textplatzhalter 28"/>
          <p:cNvSpPr>
            <a:spLocks noGrp="1"/>
          </p:cNvSpPr>
          <p:nvPr>
            <p:ph type="body" sz="quarter" idx="4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38349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7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en-US" sz="800" dirty="0">
                <a:solidFill>
                  <a:schemeClr val="tx2"/>
                </a:solidFill>
                <a:latin typeface="+mn-lt"/>
              </a:rPr>
              <a:t>Institute for Machine Tools and Industrial Management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Engineering and Desig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Munich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1" y="6541009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235827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5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89" y="6575889"/>
            <a:ext cx="5163999" cy="14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 err="1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en-US" sz="900" b="0" dirty="0">
                <a:solidFill>
                  <a:schemeClr val="tx1"/>
                </a:solidFill>
                <a:latin typeface="+mn-lt"/>
              </a:rPr>
              <a:t>Institute for Machine Tools and Industrial Management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33" r:id="rId8"/>
    <p:sldLayoutId id="2147483728" r:id="rId9"/>
    <p:sldLayoutId id="2147483730" r:id="rId10"/>
    <p:sldLayoutId id="2147483731" r:id="rId11"/>
    <p:sldLayoutId id="2147483732" r:id="rId12"/>
    <p:sldLayoutId id="2147483723" r:id="rId13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tabLst>
                <a:tab pos="1435100" algn="ctr"/>
              </a:tabLst>
            </a:pPr>
            <a:r>
              <a:rPr lang="en-US" dirty="0"/>
              <a:t>Submitted by:    Jan Nalivaika</a:t>
            </a:r>
            <a:br>
              <a:rPr lang="en-US" dirty="0"/>
            </a:br>
            <a:r>
              <a:rPr lang="en-US" dirty="0"/>
              <a:t>Supervised by:</a:t>
            </a:r>
          </a:p>
          <a:p>
            <a:pPr>
              <a:tabLst>
                <a:tab pos="1435100" algn="ctr"/>
              </a:tabLst>
            </a:pPr>
            <a:endParaRPr lang="en-US" dirty="0"/>
          </a:p>
          <a:p>
            <a:pPr>
              <a:tabLst>
                <a:tab pos="1435100" algn="ctr"/>
              </a:tabLst>
            </a:pPr>
            <a:endParaRPr lang="en-US" dirty="0"/>
          </a:p>
          <a:p>
            <a:r>
              <a:rPr lang="en-US" dirty="0" err="1"/>
              <a:t>Garching</a:t>
            </a:r>
            <a:r>
              <a:rPr lang="en-US" dirty="0"/>
              <a:t> 04.03.2024</a:t>
            </a:r>
          </a:p>
          <a:p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820738"/>
          </a:xfrm>
        </p:spPr>
        <p:txBody>
          <a:bodyPr/>
          <a:lstStyle/>
          <a:p>
            <a:r>
              <a:rPr lang="en-US" dirty="0"/>
              <a:t>Methodical Approach for Analyzing Process Variables and Optimizing Boundary Conditions in Multi-Axis Robot Programs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ster-Thesis Present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A3FCC3-22CD-02CE-FED4-05428F923C0D}"/>
              </a:ext>
            </a:extLst>
          </p:cNvPr>
          <p:cNvSpPr txBox="1"/>
          <p:nvPr/>
        </p:nvSpPr>
        <p:spPr>
          <a:xfrm>
            <a:off x="1805331" y="3227262"/>
            <a:ext cx="28505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1435100" algn="ctr"/>
              </a:tabLst>
            </a:pPr>
            <a:r>
              <a:rPr lang="en-US" sz="1600" dirty="0"/>
              <a:t>Ludwig Siebert (TUM-</a:t>
            </a:r>
            <a:r>
              <a:rPr lang="en-US" sz="1600" dirty="0" err="1"/>
              <a:t>iwb</a:t>
            </a:r>
            <a:r>
              <a:rPr lang="en-US" sz="1600" dirty="0"/>
              <a:t>)</a:t>
            </a:r>
          </a:p>
          <a:p>
            <a:pPr>
              <a:tabLst>
                <a:tab pos="1435100" algn="ctr"/>
              </a:tabLst>
            </a:pPr>
            <a:r>
              <a:rPr lang="en-US" sz="1600" dirty="0"/>
              <a:t>Marius Breuer (Siemens AG)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rporation of User Defined Importance Factor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17ED40-9DB5-B4E2-61A9-A042B6EA0A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790254"/>
            <a:ext cx="7164155" cy="2405435"/>
          </a:xfrm>
          <a:prstGeom prst="rect">
            <a:avLst/>
          </a:prstGeom>
        </p:spPr>
      </p:pic>
      <p:pic>
        <p:nvPicPr>
          <p:cNvPr id="9" name="Picture 8" descr="A diagram of a graph&#10;&#10;Description automatically generated">
            <a:extLst>
              <a:ext uri="{FF2B5EF4-FFF2-40B4-BE49-F238E27FC236}">
                <a16:creationId xmlns:a16="http://schemas.microsoft.com/office/drawing/2014/main" id="{6F095ED6-5FEA-741E-6C20-4EB0573A70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6612" y="4581128"/>
            <a:ext cx="7488832" cy="1621024"/>
          </a:xfrm>
          <a:prstGeom prst="rect">
            <a:avLst/>
          </a:prstGeom>
        </p:spPr>
      </p:pic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  <a:endCxn id="9" idx="1"/>
          </p:cNvCxnSpPr>
          <p:nvPr/>
        </p:nvCxnSpPr>
        <p:spPr>
          <a:xfrm rot="16200000" flipH="1">
            <a:off x="3380199" y="4535226"/>
            <a:ext cx="1195951" cy="516876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7748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ing Time-Series Data into Scalar Values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831" y="4158046"/>
            <a:ext cx="1195951" cy="516876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592D259-3135-B39D-D43B-DCC3A7E99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144" y="3789040"/>
            <a:ext cx="7505700" cy="21812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5B62A0-99EC-C16F-7A98-944CD7E200CD}"/>
              </a:ext>
            </a:extLst>
          </p:cNvPr>
          <p:cNvSpPr txBox="1"/>
          <p:nvPr/>
        </p:nvSpPr>
        <p:spPr>
          <a:xfrm>
            <a:off x="425456" y="1808163"/>
            <a:ext cx="2142152" cy="120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Time-series data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Velocity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Acceler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Jerk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75DB1B-C867-1A24-AAF2-E8E1BC62CC4D}"/>
              </a:ext>
            </a:extLst>
          </p:cNvPr>
          <p:cNvCxnSpPr/>
          <p:nvPr/>
        </p:nvCxnSpPr>
        <p:spPr>
          <a:xfrm>
            <a:off x="2961674" y="1683257"/>
            <a:ext cx="0" cy="1529719"/>
          </a:xfrm>
          <a:prstGeom prst="line">
            <a:avLst/>
          </a:prstGeom>
          <a:ln w="3810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991573-93EA-28B7-B7BD-9AF5EB7C501E}"/>
              </a:ext>
            </a:extLst>
          </p:cNvPr>
          <p:cNvCxnSpPr>
            <a:cxnSpLocks/>
          </p:cNvCxnSpPr>
          <p:nvPr/>
        </p:nvCxnSpPr>
        <p:spPr>
          <a:xfrm flipH="1">
            <a:off x="2804837" y="3068960"/>
            <a:ext cx="3147147" cy="0"/>
          </a:xfrm>
          <a:prstGeom prst="line">
            <a:avLst/>
          </a:prstGeom>
          <a:ln w="3810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BA7B33C-F3CE-11D0-FB50-F71EDC3E00FD}"/>
              </a:ext>
            </a:extLst>
          </p:cNvPr>
          <p:cNvSpPr/>
          <p:nvPr/>
        </p:nvSpPr>
        <p:spPr>
          <a:xfrm>
            <a:off x="2961768" y="2060331"/>
            <a:ext cx="2677885" cy="813498"/>
          </a:xfrm>
          <a:custGeom>
            <a:avLst/>
            <a:gdLst>
              <a:gd name="connsiteX0" fmla="*/ 0 w 2677885"/>
              <a:gd name="connsiteY0" fmla="*/ 813498 h 813498"/>
              <a:gd name="connsiteX1" fmla="*/ 457200 w 2677885"/>
              <a:gd name="connsiteY1" fmla="*/ 141693 h 813498"/>
              <a:gd name="connsiteX2" fmla="*/ 1175657 w 2677885"/>
              <a:gd name="connsiteY2" fmla="*/ 48387 h 813498"/>
              <a:gd name="connsiteX3" fmla="*/ 1660849 w 2677885"/>
              <a:gd name="connsiteY3" fmla="*/ 738853 h 813498"/>
              <a:gd name="connsiteX4" fmla="*/ 2388637 w 2677885"/>
              <a:gd name="connsiteY4" fmla="*/ 356298 h 813498"/>
              <a:gd name="connsiteX5" fmla="*/ 2677885 w 2677885"/>
              <a:gd name="connsiteY5" fmla="*/ 337636 h 81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7885" h="813498">
                <a:moveTo>
                  <a:pt x="0" y="813498"/>
                </a:moveTo>
                <a:cubicBezTo>
                  <a:pt x="130628" y="541354"/>
                  <a:pt x="261257" y="269211"/>
                  <a:pt x="457200" y="141693"/>
                </a:cubicBezTo>
                <a:cubicBezTo>
                  <a:pt x="653143" y="14175"/>
                  <a:pt x="975049" y="-51140"/>
                  <a:pt x="1175657" y="48387"/>
                </a:cubicBezTo>
                <a:cubicBezTo>
                  <a:pt x="1376265" y="147914"/>
                  <a:pt x="1458686" y="687535"/>
                  <a:pt x="1660849" y="738853"/>
                </a:cubicBezTo>
                <a:cubicBezTo>
                  <a:pt x="1863012" y="790171"/>
                  <a:pt x="2219131" y="423167"/>
                  <a:pt x="2388637" y="356298"/>
                </a:cubicBezTo>
                <a:cubicBezTo>
                  <a:pt x="2558143" y="289428"/>
                  <a:pt x="2618014" y="313532"/>
                  <a:pt x="2677885" y="337636"/>
                </a:cubicBezTo>
              </a:path>
            </a:pathLst>
          </a:custGeom>
          <a:noFill/>
          <a:ln w="381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FF699A-5311-210B-10D3-A8A7B2849CF1}"/>
              </a:ext>
            </a:extLst>
          </p:cNvPr>
          <p:cNvSpPr txBox="1"/>
          <p:nvPr/>
        </p:nvSpPr>
        <p:spPr>
          <a:xfrm>
            <a:off x="6322182" y="1808163"/>
            <a:ext cx="3806266" cy="120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Optional procedure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Squar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Cub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Definition of threshold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1762498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ocess Analysi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pic>
        <p:nvPicPr>
          <p:cNvPr id="7" name="Picture 6" descr="A diagram of a flowchart&#10;&#10;Description automatically generated">
            <a:extLst>
              <a:ext uri="{FF2B5EF4-FFF2-40B4-BE49-F238E27FC236}">
                <a16:creationId xmlns:a16="http://schemas.microsoft.com/office/drawing/2014/main" id="{316281E9-ACBD-13F3-7287-82A715B7DD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68" y="1772693"/>
            <a:ext cx="7213974" cy="4643982"/>
          </a:xfrm>
          <a:prstGeom prst="rect">
            <a:avLst/>
          </a:prstGeom>
        </p:spPr>
      </p:pic>
      <p:pic>
        <p:nvPicPr>
          <p:cNvPr id="10" name="Picture 9" descr="A diagram of a diagram&#10;&#10;Description automatically generated">
            <a:extLst>
              <a:ext uri="{FF2B5EF4-FFF2-40B4-BE49-F238E27FC236}">
                <a16:creationId xmlns:a16="http://schemas.microsoft.com/office/drawing/2014/main" id="{D60D0D8B-FF01-32E9-FC9D-791E3D7C58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3584" y="3576350"/>
            <a:ext cx="4555728" cy="10366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6BB9CE6-9698-B93E-1194-ABEE2165DA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9416" y="4869160"/>
            <a:ext cx="4912587" cy="164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95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y Condition Optimiz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3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F2E55D2-ACA3-743E-B895-F94904ED6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903" y="1808163"/>
            <a:ext cx="8490977" cy="43368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30B3FC-D393-4D34-9EC7-C889C443E11F}"/>
              </a:ext>
            </a:extLst>
          </p:cNvPr>
          <p:cNvSpPr txBox="1"/>
          <p:nvPr/>
        </p:nvSpPr>
        <p:spPr>
          <a:xfrm>
            <a:off x="8112224" y="4149079"/>
            <a:ext cx="3960440" cy="1861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Possible optimization algorithm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E</a:t>
            </a:r>
            <a:r>
              <a:rPr lang="en-US" sz="1600" b="0" i="0" u="none" strike="noStrike" baseline="0" dirty="0">
                <a:latin typeface="+mn-lt"/>
              </a:rPr>
              <a:t>volutionary algorithm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latin typeface="+mn-lt"/>
              </a:rPr>
              <a:t>Genetic algorithm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latin typeface="+mn-lt"/>
              </a:rPr>
              <a:t>Particle swarm optimization</a:t>
            </a:r>
            <a:endParaRPr lang="en-US" sz="1600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</a:t>
            </a:r>
            <a:r>
              <a:rPr lang="en-US" sz="1600" b="0" i="0" u="none" strike="noStrike" baseline="0" dirty="0">
                <a:latin typeface="+mn-lt"/>
              </a:rPr>
              <a:t>nt colony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</a:t>
            </a:r>
            <a:r>
              <a:rPr lang="en-US" sz="1600" b="0" i="0" u="none" strike="noStrike" baseline="0" dirty="0">
                <a:latin typeface="+mn-lt"/>
              </a:rPr>
              <a:t>ifferential evol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</a:t>
            </a:r>
            <a:r>
              <a:rPr lang="en-US" sz="1600" b="0" i="0" u="none" strike="noStrike" baseline="0" dirty="0">
                <a:latin typeface="+mn-lt"/>
              </a:rPr>
              <a:t>armony search</a:t>
            </a:r>
            <a:endParaRPr lang="en-US" sz="1600" dirty="0">
              <a:latin typeface="+mn-lt"/>
            </a:endParaRP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6CCC42F4-9D92-4A8E-1806-3E3A0F1E8D97}"/>
              </a:ext>
            </a:extLst>
          </p:cNvPr>
          <p:cNvSpPr/>
          <p:nvPr/>
        </p:nvSpPr>
        <p:spPr>
          <a:xfrm>
            <a:off x="7608168" y="4185083"/>
            <a:ext cx="360040" cy="1789528"/>
          </a:xfrm>
          <a:prstGeom prst="leftBrace">
            <a:avLst>
              <a:gd name="adj1" fmla="val 71283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9CDF7CD-A0CF-B107-023B-3E9E3F78A0CD}"/>
              </a:ext>
            </a:extLst>
          </p:cNvPr>
          <p:cNvCxnSpPr>
            <a:cxnSpLocks/>
          </p:cNvCxnSpPr>
          <p:nvPr/>
        </p:nvCxnSpPr>
        <p:spPr>
          <a:xfrm flipH="1">
            <a:off x="6672064" y="5079847"/>
            <a:ext cx="93610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374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 and Analyzed Toolpath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4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09CFD339-AA0A-44E6-ECD6-8D19DC7164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2195492"/>
            <a:ext cx="5507710" cy="3969812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98B87FFC-725D-F716-2568-A75BF7DF0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2420888"/>
            <a:ext cx="4107879" cy="361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0072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ng Joint Posi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5</a:t>
            </a:fld>
            <a:endParaRPr lang="de-DE" dirty="0"/>
          </a:p>
        </p:txBody>
      </p:sp>
      <p:pic>
        <p:nvPicPr>
          <p:cNvPr id="7" name="Picture 6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664B40-18E1-4A2A-BE04-C778265F0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506" y="2060980"/>
            <a:ext cx="5040560" cy="3744152"/>
          </a:xfrm>
          <a:prstGeom prst="rect">
            <a:avLst/>
          </a:prstGeom>
        </p:spPr>
      </p:pic>
      <p:pic>
        <p:nvPicPr>
          <p:cNvPr id="10" name="Picture 9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905E53D-88B8-0AF3-0983-C7C00559A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796" y="1238957"/>
            <a:ext cx="6050759" cy="2694099"/>
          </a:xfrm>
          <a:prstGeom prst="rect">
            <a:avLst/>
          </a:prstGeom>
        </p:spPr>
      </p:pic>
      <p:pic>
        <p:nvPicPr>
          <p:cNvPr id="12" name="Picture 11" descr="A screenshot of a graph&#10;&#10;Description automatically generated">
            <a:extLst>
              <a:ext uri="{FF2B5EF4-FFF2-40B4-BE49-F238E27FC236}">
                <a16:creationId xmlns:a16="http://schemas.microsoft.com/office/drawing/2014/main" id="{48BC3D04-43F8-874A-3005-0122A084A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08" y="3933056"/>
            <a:ext cx="5880865" cy="26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79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and Global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6</a:t>
            </a:fld>
            <a:endParaRPr lang="de-DE" dirty="0"/>
          </a:p>
        </p:txBody>
      </p:sp>
      <p:pic>
        <p:nvPicPr>
          <p:cNvPr id="8" name="Picture 7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54967058-9FAA-CF36-4AB4-17299D8948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045"/>
          <a:stretch/>
        </p:blipFill>
        <p:spPr>
          <a:xfrm>
            <a:off x="834063" y="2323278"/>
            <a:ext cx="10523873" cy="4210896"/>
          </a:xfrm>
          <a:prstGeom prst="rect">
            <a:avLst/>
          </a:prstGeom>
        </p:spPr>
      </p:pic>
      <p:pic>
        <p:nvPicPr>
          <p:cNvPr id="11" name="Picture 10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CF69298F-C670-3C7B-3D0A-F56E5711DB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066" t="729" b="83003"/>
          <a:stretch/>
        </p:blipFill>
        <p:spPr>
          <a:xfrm>
            <a:off x="7148677" y="1648596"/>
            <a:ext cx="4149744" cy="6226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899A02D-FA26-3DB8-3ACE-870F477EB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778" y="1237737"/>
            <a:ext cx="3393323" cy="983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608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D5850F-513A-43B8-1BA1-3F966DFAEA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8876" y="2584161"/>
            <a:ext cx="3061311" cy="2174999"/>
          </a:xfrm>
          <a:prstGeom prst="rect">
            <a:avLst/>
          </a:prstGeom>
        </p:spPr>
      </p:pic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B8390F37-4D7E-267D-EE09-E580BD777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694" y="1330733"/>
            <a:ext cx="5019938" cy="50837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702993" cy="738664"/>
          </a:xfrm>
        </p:spPr>
        <p:txBody>
          <a:bodyPr/>
          <a:lstStyle/>
          <a:p>
            <a:r>
              <a:rPr lang="en-US" dirty="0"/>
              <a:t>Addition of a Second Redundant </a:t>
            </a:r>
            <a:r>
              <a:rPr lang="en-US" dirty="0" err="1"/>
              <a:t>DoF</a:t>
            </a:r>
            <a:r>
              <a:rPr lang="en-US" dirty="0"/>
              <a:t> in Form of a Rotary-Tilt-Tab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7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CBD4DD-0F34-5AC1-B131-27FAC2D627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80" y="5085184"/>
            <a:ext cx="3573152" cy="11562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7F0C0-11CA-935D-ADF9-E1B33CFCD2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2636491"/>
            <a:ext cx="3141664" cy="21749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C992E2-4710-D04F-C349-A283360572FB}"/>
              </a:ext>
            </a:extLst>
          </p:cNvPr>
          <p:cNvSpPr txBox="1"/>
          <p:nvPr/>
        </p:nvSpPr>
        <p:spPr>
          <a:xfrm>
            <a:off x="674517" y="1916832"/>
            <a:ext cx="4752528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Two redundant </a:t>
            </a:r>
            <a:r>
              <a:rPr lang="en-US" sz="1400" dirty="0" err="1">
                <a:latin typeface="+mn-lt"/>
              </a:rPr>
              <a:t>DoFs</a:t>
            </a:r>
            <a:r>
              <a:rPr lang="en-US" sz="1400" dirty="0">
                <a:latin typeface="+mn-lt"/>
              </a:rPr>
              <a:t>: 	1) Rotation C (tool symmetry axis)</a:t>
            </a: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		2) Tilting of the base-plate</a:t>
            </a:r>
            <a:endParaRPr lang="en-DE" sz="14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6070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 shot of a screen&#10;&#10;Description automatically generated">
            <a:extLst>
              <a:ext uri="{FF2B5EF4-FFF2-40B4-BE49-F238E27FC236}">
                <a16:creationId xmlns:a16="http://schemas.microsoft.com/office/drawing/2014/main" id="{64E043E9-4D62-11FF-1A9D-F32CCF4BDF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076666"/>
            <a:ext cx="5039173" cy="5340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PSO-Algorithm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8</a:t>
            </a:fld>
            <a:endParaRPr lang="de-DE" dirty="0"/>
          </a:p>
        </p:txBody>
      </p:sp>
      <p:pic>
        <p:nvPicPr>
          <p:cNvPr id="10" name="Picture 9" descr="A screen shot of a graph&#10;&#10;Description automatically generated">
            <a:extLst>
              <a:ext uri="{FF2B5EF4-FFF2-40B4-BE49-F238E27FC236}">
                <a16:creationId xmlns:a16="http://schemas.microsoft.com/office/drawing/2014/main" id="{1727121D-BE47-8715-E36D-2DDACFE35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8041" y="1070278"/>
            <a:ext cx="5047878" cy="5349231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53B09088-3CFF-67CD-2518-4FE39208D27B}"/>
              </a:ext>
            </a:extLst>
          </p:cNvPr>
          <p:cNvSpPr/>
          <p:nvPr/>
        </p:nvSpPr>
        <p:spPr>
          <a:xfrm>
            <a:off x="5591944" y="3573016"/>
            <a:ext cx="936104" cy="432048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536064-D8B8-B999-8C3E-80D58125F46A}"/>
              </a:ext>
            </a:extLst>
          </p:cNvPr>
          <p:cNvSpPr txBox="1"/>
          <p:nvPr/>
        </p:nvSpPr>
        <p:spPr>
          <a:xfrm>
            <a:off x="3048778" y="3217548"/>
            <a:ext cx="6097554" cy="347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3000"/>
              </a:lnSpc>
            </a:pPr>
            <a:r>
              <a:rPr lang="en-US" sz="1600" dirty="0">
                <a:solidFill>
                  <a:schemeClr val="tx1"/>
                </a:solidFill>
              </a:rPr>
              <a:t>5 Iterations </a:t>
            </a:r>
            <a:endParaRPr lang="en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8172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D3E253BC-083B-050F-B0B6-2F614FBB21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076046"/>
            <a:ext cx="5040560" cy="53406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A32E96-1A84-F292-0E5B-85FA60530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ization of the PSO-Algorithm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D3EB61-80A4-DE99-CB99-F8F7487846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A2919-5811-F2D8-BCEA-742A83795F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9</a:t>
            </a:fld>
            <a:endParaRPr lang="de-DE" dirty="0"/>
          </a:p>
        </p:txBody>
      </p:sp>
      <p:pic>
        <p:nvPicPr>
          <p:cNvPr id="10" name="Picture 9" descr="A screen shot of a graph&#10;&#10;Description automatically generated">
            <a:extLst>
              <a:ext uri="{FF2B5EF4-FFF2-40B4-BE49-F238E27FC236}">
                <a16:creationId xmlns:a16="http://schemas.microsoft.com/office/drawing/2014/main" id="{14D17FE3-327C-183F-F32B-913ED2A63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3776" y="1076046"/>
            <a:ext cx="5082311" cy="538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864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5A714-397F-0BC2-2F80-9B0FC0C5D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able of Conten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8B7A83-0FF1-A6D9-7CC0-AC79DBB6C1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B78FF-CC98-02BF-2641-AD2428F4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40488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en-US" smtClean="0"/>
              <a:pPr algn="r">
                <a:lnSpc>
                  <a:spcPct val="110000"/>
                </a:lnSpc>
              </a:pPr>
              <a:t>2</a:t>
            </a:fld>
            <a:endParaRPr lang="en-US" dirty="0"/>
          </a:p>
        </p:txBody>
      </p:sp>
      <p:sp>
        <p:nvSpPr>
          <p:cNvPr id="5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63B1F9B2-B8B0-C9D1-5026-E6BFD01C9AB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6288" y="355465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Implementation and Results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2C1029A2-E970-A480-7383-A1285C5269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95288" y="355465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7" name="Rechteck 15">
            <a:hlinkClick r:id="" action="ppaction://noaction"/>
            <a:extLst>
              <a:ext uri="{FF2B5EF4-FFF2-40B4-BE49-F238E27FC236}">
                <a16:creationId xmlns:a16="http://schemas.microsoft.com/office/drawing/2014/main" id="{2F56D7D5-CA6F-1D2D-48CB-F61276FB22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76288" y="309104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83B43383-EE25-5600-E4C6-22BDC7BD54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95288" y="309104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" name="Rechteck 12">
            <a:hlinkClick r:id="" action="ppaction://noaction"/>
            <a:extLst>
              <a:ext uri="{FF2B5EF4-FFF2-40B4-BE49-F238E27FC236}">
                <a16:creationId xmlns:a16="http://schemas.microsoft.com/office/drawing/2014/main" id="{64450BDF-4F44-8AF9-2ED8-02CACDA9C5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6288" y="262743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tate of the Art</a:t>
            </a:r>
          </a:p>
        </p:txBody>
      </p:sp>
      <p:sp>
        <p:nvSpPr>
          <p:cNvPr id="10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731BAFFE-AB20-30A6-8D82-53B404600F7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288" y="262743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" name="Rechteck 9">
            <a:hlinkClick r:id="" action="ppaction://noaction"/>
            <a:extLst>
              <a:ext uri="{FF2B5EF4-FFF2-40B4-BE49-F238E27FC236}">
                <a16:creationId xmlns:a16="http://schemas.microsoft.com/office/drawing/2014/main" id="{0F53795A-802F-0BA8-1AA2-46C7124CC78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6288" y="216382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Problem Formulation and Aim</a:t>
            </a:r>
          </a:p>
        </p:txBody>
      </p:sp>
      <p:sp>
        <p:nvSpPr>
          <p:cNvPr id="12" name="Rechteck 8">
            <a:hlinkClick r:id="" action="ppaction://noaction"/>
            <a:extLst>
              <a:ext uri="{FF2B5EF4-FFF2-40B4-BE49-F238E27FC236}">
                <a16:creationId xmlns:a16="http://schemas.microsoft.com/office/drawing/2014/main" id="{D1EF97F3-E328-E1B3-5241-1BF5646708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5288" y="216382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" name="Rechteck 6">
            <a:hlinkClick r:id="" action="ppaction://noaction"/>
            <a:extLst>
              <a:ext uri="{FF2B5EF4-FFF2-40B4-BE49-F238E27FC236}">
                <a16:creationId xmlns:a16="http://schemas.microsoft.com/office/drawing/2014/main" id="{EC1C052D-783C-9B62-51D7-DFE97E86EF4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76288" y="170021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otivation</a:t>
            </a:r>
          </a:p>
        </p:txBody>
      </p:sp>
      <p:sp>
        <p:nvSpPr>
          <p:cNvPr id="14" name="Rechteck 5">
            <a:hlinkClick r:id="" action="ppaction://noaction"/>
            <a:extLst>
              <a:ext uri="{FF2B5EF4-FFF2-40B4-BE49-F238E27FC236}">
                <a16:creationId xmlns:a16="http://schemas.microsoft.com/office/drawing/2014/main" id="{FA24DDA1-AEAE-1667-7339-449308C836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95288" y="170021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A7073AE7-8D26-487C-2D3C-0F36BACDCA5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76288" y="401826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ummary and Outlook</a:t>
            </a:r>
          </a:p>
        </p:txBody>
      </p:sp>
      <p:sp>
        <p:nvSpPr>
          <p:cNvPr id="17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7DBD71AD-1A3F-F566-65DF-4E040D1F02C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27043" y="401826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561899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 Proof Of Concep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Summary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and Outlook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0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83CE1C-45EE-1234-3091-213DE40486E5}"/>
              </a:ext>
            </a:extLst>
          </p:cNvPr>
          <p:cNvSpPr txBox="1"/>
          <p:nvPr/>
        </p:nvSpPr>
        <p:spPr>
          <a:xfrm>
            <a:off x="425455" y="1772816"/>
            <a:ext cx="10999137" cy="4524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validation provides a solid proof-of-concept for the proposed methodolog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 It is shown that the redundant </a:t>
            </a:r>
            <a:r>
              <a:rPr lang="en-US" sz="1600" dirty="0" err="1">
                <a:solidFill>
                  <a:srgbClr val="323130"/>
                </a:solidFill>
                <a:latin typeface="+mn-lt"/>
              </a:rPr>
              <a:t>DoFs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 can offer significant potential for improvement in the robot’s movement.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 PSO-algorithm is reasonable choice for finding the optimal boundary condition for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method's adaptability allows for wide </a:t>
            </a:r>
            <a:r>
              <a:rPr lang="en-US" sz="1600" dirty="0"/>
              <a:t>application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o a broad spectrum of robotic system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dditional factors need to be considered for detailed validation, such as longer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roduction G-codes</a:t>
            </a:r>
            <a:br>
              <a:rPr lang="en-US" sz="1600" dirty="0">
                <a:solidFill>
                  <a:srgbClr val="323130"/>
                </a:solidFill>
                <a:latin typeface="+mn-lt"/>
              </a:rPr>
            </a:br>
            <a:r>
              <a:rPr lang="en-US" sz="1600" dirty="0">
                <a:solidFill>
                  <a:srgbClr val="323130"/>
                </a:solidFill>
                <a:latin typeface="+mn-lt"/>
              </a:rPr>
              <a:t>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and complex multi-axis operations with more than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s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algn="l">
              <a:lnSpc>
                <a:spcPct val="150000"/>
              </a:lnSpc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algn="l">
              <a:lnSpc>
                <a:spcPct val="150000"/>
              </a:lnSpc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Outlook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A combination with CAM-software can significantly reduce computation ti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Implementation of stiffens analys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iecewise optimiza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tion of the toolpath instead of whole toolpath 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618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37384-9F3B-D4C4-FAF6-0F14003DC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Contac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28332-2F3C-1F81-F693-290F7B345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D0A77-C17E-29F9-1CD9-4427958A9C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US" dirty="0"/>
              <a:t>Jan Nalivaika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0C913D-1254-F214-371D-FA6003D5941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 dirty="0"/>
              <a:t>Student at Siemens</a:t>
            </a:r>
            <a:endParaRPr lang="en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37E9BB1-312D-4DA5-90F8-D83B7E5B5CB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dirty="0"/>
              <a:t>nalivaika@outlook.de</a:t>
            </a:r>
            <a:endParaRPr lang="en-DE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D22287A-2DE6-FDA3-74FD-A159C6B574D8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07E23D-219B-6F81-EAE0-91EAEE6AE0D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US" dirty="0"/>
              <a:t>Ludwig Siebert</a:t>
            </a:r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84D3AB4-4C22-E982-9F58-136F2445DC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Supervisor at TUM</a:t>
            </a:r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0655D2-5B98-9D29-F5FF-D9A6F23B573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en-US" dirty="0"/>
              <a:t>15578</a:t>
            </a:r>
            <a:endParaRPr lang="en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1AF2CA-59A1-1C1C-639A-A21C2038EFF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n-US" dirty="0"/>
              <a:t>ludwig.siebert@iwb.tum.de</a:t>
            </a:r>
            <a:endParaRPr lang="en-DE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757D0D1-5251-79A6-1EBA-B87C226A26A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19C2DD6-18A7-1614-7C95-7E776E7E962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en-US" dirty="0"/>
              <a:t>Marius Breuer</a:t>
            </a:r>
            <a:endParaRPr lang="en-DE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9E97061-8A73-857B-2A15-D95378083CE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en-US" dirty="0"/>
              <a:t>Supervisor at Siemens</a:t>
            </a:r>
            <a:endParaRPr lang="en-DE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D21043C-C56A-C8E4-AC67-6E115CF6945E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en-US" dirty="0"/>
              <a:t>marius.breuer@siemens.com</a:t>
            </a:r>
            <a:endParaRPr lang="en-DE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C2DAB2F9-51CD-3D4F-BC56-FCF9579D2D13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11730038" y="6586538"/>
            <a:ext cx="461962" cy="152400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7694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DF8FD-19EC-5536-A93C-B777A7332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NC machine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F06E74-9B90-86FF-C8EC-30786E3DB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2</a:t>
            </a:fld>
            <a:endParaRPr lang="de-DE" dirty="0"/>
          </a:p>
        </p:txBody>
      </p:sp>
      <p:pic>
        <p:nvPicPr>
          <p:cNvPr id="8" name="Picture 7" descr="A large white machine with text&#10;&#10;Description automatically generated">
            <a:extLst>
              <a:ext uri="{FF2B5EF4-FFF2-40B4-BE49-F238E27FC236}">
                <a16:creationId xmlns:a16="http://schemas.microsoft.com/office/drawing/2014/main" id="{544F395E-6C30-3315-A26C-204F41D007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1717105"/>
            <a:ext cx="7632848" cy="4102655"/>
          </a:xfrm>
          <a:prstGeom prst="rect">
            <a:avLst/>
          </a:prstGeom>
        </p:spPr>
      </p:pic>
      <p:pic>
        <p:nvPicPr>
          <p:cNvPr id="10" name="Picture 9" descr="A drawing of a machine&#10;&#10;Description automatically generated">
            <a:extLst>
              <a:ext uri="{FF2B5EF4-FFF2-40B4-BE49-F238E27FC236}">
                <a16:creationId xmlns:a16="http://schemas.microsoft.com/office/drawing/2014/main" id="{5CFBB493-7950-A093-3835-CD0AF4077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5412" y="712791"/>
            <a:ext cx="4759603" cy="571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24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2F11-18A0-EAB7-D9EE-E88CD5799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Robo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CA2B7B-A225-49C3-E7BD-ADD096B0E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3</a:t>
            </a:fld>
            <a:endParaRPr lang="de-DE" dirty="0"/>
          </a:p>
        </p:txBody>
      </p:sp>
      <p:pic>
        <p:nvPicPr>
          <p:cNvPr id="6" name="Picture 5" descr="A drawing of a robot arm&#10;&#10;Description automatically generated">
            <a:extLst>
              <a:ext uri="{FF2B5EF4-FFF2-40B4-BE49-F238E27FC236}">
                <a16:creationId xmlns:a16="http://schemas.microsoft.com/office/drawing/2014/main" id="{0E5695F4-3E9F-D367-1932-27DA082CC1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7815" y="712791"/>
            <a:ext cx="9176370" cy="546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0047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machine with a mechanical arm&#10;&#10;Description automatically generated with medium confidence">
            <a:extLst>
              <a:ext uri="{FF2B5EF4-FFF2-40B4-BE49-F238E27FC236}">
                <a16:creationId xmlns:a16="http://schemas.microsoft.com/office/drawing/2014/main" id="{2585AF49-A440-A06A-75CD-996AEB3A64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443"/>
          <a:stretch/>
        </p:blipFill>
        <p:spPr>
          <a:xfrm>
            <a:off x="422286" y="1934257"/>
            <a:ext cx="5313674" cy="3872818"/>
          </a:xfrm>
          <a:prstGeom prst="rect">
            <a:avLst/>
          </a:prstGeom>
        </p:spPr>
      </p:pic>
      <p:pic>
        <p:nvPicPr>
          <p:cNvPr id="22" name="Picture 21" descr="A close-up of a robot&#10;&#10;Description automatically generated">
            <a:extLst>
              <a:ext uri="{FF2B5EF4-FFF2-40B4-BE49-F238E27FC236}">
                <a16:creationId xmlns:a16="http://schemas.microsoft.com/office/drawing/2014/main" id="{AD6F6172-B007-077E-7C5A-954792BB1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3603" y="2060848"/>
            <a:ext cx="6033585" cy="374098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37CAAE67-C8D5-87EE-B669-6A95096B5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/>
              <a:t>Manufacturing Systems with Redundant </a:t>
            </a:r>
            <a:r>
              <a:rPr lang="en-US" dirty="0" err="1"/>
              <a:t>DoF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72369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FE031-1AF8-8F5E-391B-B13F06EC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ularity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8472CA-F1A9-9A62-E1C3-4DB6EC8A36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DCE99B-BA3B-A2CA-B514-A1A57189E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5</a:t>
            </a:fld>
            <a:endParaRPr lang="de-DE" dirty="0"/>
          </a:p>
        </p:txBody>
      </p:sp>
      <p:pic>
        <p:nvPicPr>
          <p:cNvPr id="6" name="Picture 5" descr="A mechanical arm with lights&#10;&#10;Description automatically generated with medium confidence">
            <a:extLst>
              <a:ext uri="{FF2B5EF4-FFF2-40B4-BE49-F238E27FC236}">
                <a16:creationId xmlns:a16="http://schemas.microsoft.com/office/drawing/2014/main" id="{3A0CD19B-CCC6-B569-EEAA-9A67A9D6D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52736"/>
            <a:ext cx="5184576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4293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0966D-1A32-5C0A-50B9-74ED9303C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dependence of various parameters and element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CFC494-6BA8-DC1C-0B0A-73CB3A13D9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8EA06-4CFB-5951-4BA7-3E4A7A3733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6</a:t>
            </a:fld>
            <a:endParaRPr lang="de-DE" dirty="0"/>
          </a:p>
        </p:txBody>
      </p:sp>
      <p:pic>
        <p:nvPicPr>
          <p:cNvPr id="6" name="Picture 5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5DA4A493-4AB2-5929-810E-C984E67FA6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540" y="2064187"/>
            <a:ext cx="10448919" cy="307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714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1D045-627A-C8A6-FF17-CEBC4AEF6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information for angular position of each join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F9C9D-107F-07C1-82D2-CC19721806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DAC2D-E908-EF51-6578-84C0611D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7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F492D615-FE8E-3EDB-BC9C-3B28C0AB5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75" y="2093903"/>
            <a:ext cx="10248649" cy="373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715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47877-7D67-9DC7-07D2-54D91E24E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 and soft limits with desired ran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88A526-3D5F-16A1-88CB-243A6D0493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24B15-388A-1233-8DDE-E0687D2E7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8</a:t>
            </a:fld>
            <a:endParaRPr lang="de-DE" dirty="0"/>
          </a:p>
        </p:txBody>
      </p:sp>
      <p:pic>
        <p:nvPicPr>
          <p:cNvPr id="6" name="Picture 5" descr="A graph of a function&#10;&#10;Description automatically generated">
            <a:extLst>
              <a:ext uri="{FF2B5EF4-FFF2-40B4-BE49-F238E27FC236}">
                <a16:creationId xmlns:a16="http://schemas.microsoft.com/office/drawing/2014/main" id="{104A11A5-992C-01A6-42DE-9EF9F7001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5480" y="1388365"/>
            <a:ext cx="8924595" cy="478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440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5AD02-DBAB-F09F-B305-991FC47F6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mplary methods for energy usage calcula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D64258-6DBB-61F2-94F5-C93ECBAEA4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502E2-5797-CBD8-7969-CABAAB73A3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9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0932168B-7065-1F8C-7A24-E5881E7B15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162" y="2323790"/>
            <a:ext cx="10115676" cy="326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58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2A5A9B-8A81-C5C3-331B-D5D70112C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1808163"/>
            <a:ext cx="7894796" cy="40552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330D97-75E0-21EC-DCEA-02C39495F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f Industrial Robot Usa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76EBED-FB53-0B8C-0077-6DE752419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6764E-7437-D062-EE73-40144A5FA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6F1429-B78F-C294-B959-D47E78B61FF1}"/>
              </a:ext>
            </a:extLst>
          </p:cNvPr>
          <p:cNvSpPr txBox="1"/>
          <p:nvPr/>
        </p:nvSpPr>
        <p:spPr>
          <a:xfrm>
            <a:off x="419100" y="5469224"/>
            <a:ext cx="6481337" cy="187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effectLst/>
                <a:latin typeface="ElsevierSans"/>
              </a:rPr>
              <a:t>(Hwa Jung 2020</a:t>
            </a:r>
            <a:r>
              <a:rPr lang="en-US" sz="800" dirty="0">
                <a:solidFill>
                  <a:schemeClr val="bg1"/>
                </a:solidFill>
                <a:latin typeface="ElsevierSans"/>
              </a:rPr>
              <a:t>)</a:t>
            </a:r>
            <a:endParaRPr lang="en-DE" sz="800" dirty="0">
              <a:solidFill>
                <a:schemeClr val="bg1"/>
              </a:solidFill>
            </a:endParaRPr>
          </a:p>
        </p:txBody>
      </p:sp>
      <p:pic>
        <p:nvPicPr>
          <p:cNvPr id="8" name="Picture 2" descr="1. Industrial Applications of Robotics | Download Scientific Diagram">
            <a:extLst>
              <a:ext uri="{FF2B5EF4-FFF2-40B4-BE49-F238E27FC236}">
                <a16:creationId xmlns:a16="http://schemas.microsoft.com/office/drawing/2014/main" id="{D76B793D-8CC6-DAED-2F2E-8B62E033B5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53" b="15452"/>
          <a:stretch/>
        </p:blipFill>
        <p:spPr bwMode="auto">
          <a:xfrm>
            <a:off x="8949729" y="1808163"/>
            <a:ext cx="2810475" cy="118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26623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3EE99-2CDC-267F-E174-2C8FC7B80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C-Axis of a welding torc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408CC7-A072-3D49-86B0-9648A7B77D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A935EC-6149-A983-B0F8-6666A3DD1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0</a:t>
            </a:fld>
            <a:endParaRPr lang="de-DE" dirty="0"/>
          </a:p>
        </p:txBody>
      </p:sp>
      <p:pic>
        <p:nvPicPr>
          <p:cNvPr id="6" name="Picture 5" descr="A robotic arm working on a piece of metal&#10;&#10;Description automatically generated">
            <a:extLst>
              <a:ext uri="{FF2B5EF4-FFF2-40B4-BE49-F238E27FC236}">
                <a16:creationId xmlns:a16="http://schemas.microsoft.com/office/drawing/2014/main" id="{76210D62-468E-4BB3-C440-C791B60AA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0138" y="2070161"/>
            <a:ext cx="3971450" cy="3868741"/>
          </a:xfrm>
          <a:prstGeom prst="rect">
            <a:avLst/>
          </a:prstGeom>
        </p:spPr>
      </p:pic>
      <p:pic>
        <p:nvPicPr>
          <p:cNvPr id="8" name="Picture 7" descr="A robotic arm holding a yellow plastic object&#10;&#10;Description automatically generated">
            <a:extLst>
              <a:ext uri="{FF2B5EF4-FFF2-40B4-BE49-F238E27FC236}">
                <a16:creationId xmlns:a16="http://schemas.microsoft.com/office/drawing/2014/main" id="{3E06F87D-5533-57B9-D76C-1F498B347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2064187"/>
            <a:ext cx="3960440" cy="387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220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D8862-EE49-7533-2740-5D4B76403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ch Orien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5F9961-074A-2A1E-97DE-CF542CD36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ample of optimal and non-optimal tilt in the welding torch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7FBEF-1F6B-4C1D-12F1-C06EEB150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1</a:t>
            </a:fld>
            <a:endParaRPr lang="de-DE" dirty="0"/>
          </a:p>
        </p:txBody>
      </p:sp>
      <p:pic>
        <p:nvPicPr>
          <p:cNvPr id="6" name="Picture 5" descr="A black background with blue lines and a black rectangle&#10;&#10;Description automatically generated">
            <a:extLst>
              <a:ext uri="{FF2B5EF4-FFF2-40B4-BE49-F238E27FC236}">
                <a16:creationId xmlns:a16="http://schemas.microsoft.com/office/drawing/2014/main" id="{E66372C2-3FC0-C99D-3D5C-8FD0148D89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25" y="2064187"/>
            <a:ext cx="9505121" cy="393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323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74575-C6E2-2029-87CB-375949778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 Loop With CAM Software in the Loop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C2C5F-28CC-135C-1A66-247D7EAC95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9F89AB-DABC-28D2-AD13-E13A86124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2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C081982-59D9-3FBB-82FB-BBF8771A8F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750" y="1987071"/>
            <a:ext cx="9856251" cy="433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3779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183FE-8BBD-449A-C1D8-221191B91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4EE8E-28FA-3913-11C2-8D847E9582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A061A-346F-64A6-9DDE-47333A192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3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500E26-3CF3-B9A8-5B51-978697664E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603" y="1905000"/>
            <a:ext cx="3800475" cy="1524000"/>
          </a:xfrm>
          <a:prstGeom prst="rect">
            <a:avLst/>
          </a:prstGeom>
        </p:spPr>
      </p:pic>
      <p:pic>
        <p:nvPicPr>
          <p:cNvPr id="8" name="Picture 7" descr="A screen shot of a game&#10;&#10;Description automatically generated">
            <a:extLst>
              <a:ext uri="{FF2B5EF4-FFF2-40B4-BE49-F238E27FC236}">
                <a16:creationId xmlns:a16="http://schemas.microsoft.com/office/drawing/2014/main" id="{4B233BE0-F2EC-7163-C337-EBCA25759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3933057"/>
            <a:ext cx="5003574" cy="2088232"/>
          </a:xfrm>
          <a:prstGeom prst="rect">
            <a:avLst/>
          </a:prstGeom>
        </p:spPr>
      </p:pic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73DA9252-49DF-9CAA-FE0B-41E7C9A83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0110" y="1884363"/>
            <a:ext cx="5990094" cy="431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658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A55DF-F014-CFF3-06F8-E25F04A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a Basic Toolpat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89AD5A-120A-B8EB-488C-27DEBB850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029B1-FAAC-E0B8-3E41-E0E72B6903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4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1A43D698-5609-C32F-8E90-91171F9933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8680" y="2285256"/>
            <a:ext cx="3814640" cy="3413498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6AC5642B-0498-6548-DC78-9CE97096E0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60" y="2331626"/>
            <a:ext cx="3701808" cy="3260973"/>
          </a:xfrm>
          <a:prstGeom prst="rect">
            <a:avLst/>
          </a:prstGeom>
        </p:spPr>
      </p:pic>
      <p:pic>
        <p:nvPicPr>
          <p:cNvPr id="10" name="Picture 9" descr="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E1425CD5-AD31-F289-8410-118EF75614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4232" y="2276872"/>
            <a:ext cx="3575972" cy="316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280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F77E8-9D7E-7420-D9CA-B5E96A3BB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Z-axis for toolpath 1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590271-58A9-1B65-3267-084F638733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13CFB-08FE-7166-1D72-0F29BC17B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5</a:t>
            </a:fld>
            <a:endParaRPr lang="de-DE" dirty="0"/>
          </a:p>
        </p:txBody>
      </p:sp>
      <p:pic>
        <p:nvPicPr>
          <p:cNvPr id="6" name="Picture 5" descr="A graph of a graphing function&#10;&#10;Description automatically generated with medium confidence">
            <a:extLst>
              <a:ext uri="{FF2B5EF4-FFF2-40B4-BE49-F238E27FC236}">
                <a16:creationId xmlns:a16="http://schemas.microsoft.com/office/drawing/2014/main" id="{7745235F-1D4E-2D77-FF83-59780912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5557" y="1378930"/>
            <a:ext cx="5177343" cy="5037745"/>
          </a:xfrm>
          <a:prstGeom prst="rect">
            <a:avLst/>
          </a:prstGeom>
        </p:spPr>
      </p:pic>
      <p:pic>
        <p:nvPicPr>
          <p:cNvPr id="8" name="Picture 7" descr="A diagram of a graph&#10;&#10;Description automatically generated">
            <a:extLst>
              <a:ext uri="{FF2B5EF4-FFF2-40B4-BE49-F238E27FC236}">
                <a16:creationId xmlns:a16="http://schemas.microsoft.com/office/drawing/2014/main" id="{C77DD3F7-BE44-2BB5-6725-9FA0AD3CF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388489"/>
            <a:ext cx="5177343" cy="503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157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345BF-CC4B-C09A-02B0-B7F4CB621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208F89-B1CE-A828-54A5-551005F6E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C9BED-B9ED-730A-E07E-11A0E1AB02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6</a:t>
            </a:fld>
            <a:endParaRPr lang="de-DE" dirty="0"/>
          </a:p>
        </p:txBody>
      </p:sp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EC37145C-DA7E-8B03-263B-6CA75647E7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7598"/>
            <a:ext cx="9144019" cy="4082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3624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0D2E7-8F54-B5E3-F937-1B3C2E54C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5C9221-F5C0-A697-EF1C-693C19CD45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89786-0641-A13F-563B-1B97FE67B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7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62A630B5-9E9C-857D-7550-D38A37BC4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5312"/>
            <a:ext cx="9144019" cy="408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1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DEAD8-A335-86B9-5506-3436F1915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-code Vari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240C9-D437-3CFE-EAF2-E44C6AA782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42474-E25A-EC25-4822-255914853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8</a:t>
            </a:fld>
            <a:endParaRPr lang="de-DE" dirty="0"/>
          </a:p>
        </p:txBody>
      </p:sp>
      <p:pic>
        <p:nvPicPr>
          <p:cNvPr id="6" name="Picture 5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D389E1D0-4C63-CCEF-5986-CADF43F56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972" y="1388489"/>
            <a:ext cx="6384314" cy="504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86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FDB9E-2CD9-51D7-C706-CEB779556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ECB4C-159E-22D6-A408-79DA9FBDE0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ABA76-7C09-50D7-911B-2EE15784D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9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1BEA2C4-DFDF-57FD-C4D6-A83DD094C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97" y="1220262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88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2A5A9B-8A81-C5C3-331B-D5D70112C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7453" y="1759807"/>
            <a:ext cx="2829033" cy="1453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330D97-75E0-21EC-DCEA-02C39495F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Applications of Robotic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76EBED-FB53-0B8C-0077-6DE752419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6764E-7437-D062-EE73-40144A5FA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6F1429-B78F-C294-B959-D47E78B61FF1}"/>
              </a:ext>
            </a:extLst>
          </p:cNvPr>
          <p:cNvSpPr txBox="1"/>
          <p:nvPr/>
        </p:nvSpPr>
        <p:spPr>
          <a:xfrm>
            <a:off x="419100" y="5469224"/>
            <a:ext cx="6481337" cy="187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effectLst/>
                <a:latin typeface="ElsevierSans"/>
              </a:rPr>
              <a:t>(Hwa Jung 2020</a:t>
            </a:r>
            <a:r>
              <a:rPr lang="en-US" sz="800" dirty="0">
                <a:solidFill>
                  <a:schemeClr val="bg1"/>
                </a:solidFill>
                <a:latin typeface="ElsevierSans"/>
              </a:rPr>
              <a:t>)</a:t>
            </a:r>
            <a:endParaRPr lang="en-DE" sz="8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3467D-895C-8203-682B-DAD9EAC7F65B}"/>
              </a:ext>
            </a:extLst>
          </p:cNvPr>
          <p:cNvSpPr txBox="1"/>
          <p:nvPr/>
        </p:nvSpPr>
        <p:spPr>
          <a:xfrm>
            <a:off x="425455" y="5561154"/>
            <a:ext cx="648133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0" i="0" dirty="0">
                <a:effectLst/>
                <a:latin typeface="ElsevierSans"/>
              </a:rPr>
              <a:t>(Hwa Jung 2020</a:t>
            </a:r>
            <a:r>
              <a:rPr lang="en-US" sz="1050" dirty="0">
                <a:latin typeface="ElsevierSans"/>
              </a:rPr>
              <a:t>)</a:t>
            </a:r>
            <a:endParaRPr lang="en-DE" sz="1050" dirty="0"/>
          </a:p>
        </p:txBody>
      </p:sp>
      <p:pic>
        <p:nvPicPr>
          <p:cNvPr id="8" name="Picture 2" descr="1. Industrial Applications of Robotics | Download Scientific Diagram">
            <a:extLst>
              <a:ext uri="{FF2B5EF4-FFF2-40B4-BE49-F238E27FC236}">
                <a16:creationId xmlns:a16="http://schemas.microsoft.com/office/drawing/2014/main" id="{D76B793D-8CC6-DAED-2F2E-8B62E033B5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53" b="15452"/>
          <a:stretch/>
        </p:blipFill>
        <p:spPr bwMode="auto">
          <a:xfrm>
            <a:off x="425455" y="1891996"/>
            <a:ext cx="7830785" cy="331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5782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10997-89BF-C67A-B1FA-90D0D18BB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867FE-3203-27FD-ABEC-6E560A369C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0655F-8B51-6C02-3AAF-5FF86D0B8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0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385FFE01-410A-3B24-2256-480E710A7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782639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28297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BD121-A3C4-095B-AEE7-BB7BF5333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7B1D6-1D25-031E-3A48-DEB1252DA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36CE88-E59E-1DA0-4AC5-7154801736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1</a:t>
            </a:fld>
            <a:endParaRPr lang="de-DE" dirty="0"/>
          </a:p>
        </p:txBody>
      </p:sp>
      <p:pic>
        <p:nvPicPr>
          <p:cNvPr id="6" name="Picture 5" descr="A pink lines with a black arrow&#10;&#10;Description automatically generated">
            <a:extLst>
              <a:ext uri="{FF2B5EF4-FFF2-40B4-BE49-F238E27FC236}">
                <a16:creationId xmlns:a16="http://schemas.microsoft.com/office/drawing/2014/main" id="{EFA8F3FA-3446-F094-3DB3-DA5CF154A8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808163"/>
            <a:ext cx="3139511" cy="4456194"/>
          </a:xfrm>
          <a:prstGeom prst="rect">
            <a:avLst/>
          </a:prstGeom>
        </p:spPr>
      </p:pic>
      <p:pic>
        <p:nvPicPr>
          <p:cNvPr id="10" name="Picture 9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42D051-9676-00A4-322C-CD25301FFD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4871" y="2064187"/>
            <a:ext cx="8034233" cy="387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2570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C9A48-42D5-6EEC-77B0-A0B788BB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toolpath 2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9CEAFB-9905-AD7D-EB87-92B6BB69D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85740-E4ED-01C4-86E7-E21A75BA2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2</a:t>
            </a:fld>
            <a:endParaRPr lang="de-DE" dirty="0"/>
          </a:p>
        </p:txBody>
      </p:sp>
      <p:pic>
        <p:nvPicPr>
          <p:cNvPr id="6" name="Picture 5" descr="A graph of 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49835C8B-E220-D1ED-E0A8-B60687C4E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819" y="981571"/>
            <a:ext cx="5612058" cy="5604615"/>
          </a:xfrm>
          <a:prstGeom prst="rect">
            <a:avLst/>
          </a:prstGeom>
        </p:spPr>
      </p:pic>
      <p:pic>
        <p:nvPicPr>
          <p:cNvPr id="8" name="Picture 7" descr="A graph with colored lines&#10;&#10;Description automatically generated">
            <a:extLst>
              <a:ext uri="{FF2B5EF4-FFF2-40B4-BE49-F238E27FC236}">
                <a16:creationId xmlns:a16="http://schemas.microsoft.com/office/drawing/2014/main" id="{76942607-C95F-237E-EECB-A1FE6EBFA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28" y="981571"/>
            <a:ext cx="5535872" cy="552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4498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926CC-5E06-877B-7F34-26E71BEF2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0E8E5F-7150-30C7-A936-DFE8110D3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ECF288-F435-69C3-381A-873869F6D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3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92C922B4-92A3-9B72-4113-D09BD3336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5306" y="919596"/>
            <a:ext cx="6861387" cy="51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1465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F7A3E-1BEE-8699-FB55-FE0D1DE6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A9A4B-0139-916C-C6FA-7068CEA4E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8938F0-8C1C-BC10-824F-CA2A89419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4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E6C20746-2D55-DBAC-AC5E-D29589176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834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EEA20-F80D-E348-9E58-BD35A4D8A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45C021-2B93-BC75-60AA-22C73C4461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9BD90E-E789-A38C-0058-1AEC9A4EBF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5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E28D52F-FCC6-623C-E221-87CAE974F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110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6C3D9-117C-E632-889A-30D9614F5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91D86A-A40D-2454-2FE8-63C08C2A77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F9C7A-49A3-154F-FA02-667D4B88D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6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6759009-0B72-FD86-A8D1-8D8EA3F57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7132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07C03-5153-D3BE-434F-8FE9C1FF9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E2FC0-C26D-9C2A-424A-CA84F452CA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FA098E-295E-6A38-FD86-5866AA5B63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7</a:t>
            </a:fld>
            <a:endParaRPr lang="de-DE" dirty="0"/>
          </a:p>
        </p:txBody>
      </p:sp>
      <p:pic>
        <p:nvPicPr>
          <p:cNvPr id="6" name="Picture 5" descr="A screen shot of a screen&#10;&#10;Description automatically generated">
            <a:extLst>
              <a:ext uri="{FF2B5EF4-FFF2-40B4-BE49-F238E27FC236}">
                <a16:creationId xmlns:a16="http://schemas.microsoft.com/office/drawing/2014/main" id="{EE2F79FF-3E98-EF85-1A32-A736426CC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836712"/>
            <a:ext cx="5438513" cy="5763189"/>
          </a:xfrm>
          <a:prstGeom prst="rect">
            <a:avLst/>
          </a:prstGeom>
        </p:spPr>
      </p:pic>
      <p:pic>
        <p:nvPicPr>
          <p:cNvPr id="8" name="Picture 7" descr="A screen shot of a graph&#10;&#10;Description automatically generated">
            <a:extLst>
              <a:ext uri="{FF2B5EF4-FFF2-40B4-BE49-F238E27FC236}">
                <a16:creationId xmlns:a16="http://schemas.microsoft.com/office/drawing/2014/main" id="{7756C899-A732-1C1C-43CB-3E038CB94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6996" y="836712"/>
            <a:ext cx="5438513" cy="576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70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FA42E-CCD8-82E8-41C7-C0527F6F7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DC3C7D-C8FE-94A4-FD93-91DA147A2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BFAF4-2062-3D67-2143-9D47B2F4D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8</a:t>
            </a:fld>
            <a:endParaRPr lang="de-DE" dirty="0"/>
          </a:p>
        </p:txBody>
      </p:sp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A39671DF-F334-A39B-F5AF-F22D4FC8B3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20" y="413838"/>
            <a:ext cx="6080772" cy="6443790"/>
          </a:xfrm>
          <a:prstGeom prst="rect">
            <a:avLst/>
          </a:prstGeom>
        </p:spPr>
      </p:pic>
      <p:pic>
        <p:nvPicPr>
          <p:cNvPr id="8" name="Picture 7" descr="A screenshot of a computer generated image&#10;&#10;Description automatically generated">
            <a:extLst>
              <a:ext uri="{FF2B5EF4-FFF2-40B4-BE49-F238E27FC236}">
                <a16:creationId xmlns:a16="http://schemas.microsoft.com/office/drawing/2014/main" id="{57089876-4764-CAEA-4302-AD8510CBF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9692" y="375343"/>
            <a:ext cx="6050684" cy="64119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B73ED21-1D24-F6FC-C65F-B6C68972C44B}"/>
              </a:ext>
            </a:extLst>
          </p:cNvPr>
          <p:cNvSpPr txBox="1"/>
          <p:nvPr/>
        </p:nvSpPr>
        <p:spPr>
          <a:xfrm>
            <a:off x="3048000" y="329819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0" i="0" u="none" strike="noStrike" baseline="0" dirty="0">
                <a:latin typeface="CharterBT-Roman"/>
              </a:rPr>
              <a:t>rotation around the Z-axis for toolpath 1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764998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5FD89-DBAB-8FEA-25E6-94F599820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8B164-5FB9-8E4E-8C9F-21E605A419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FDC0C-6B49-B57D-84F5-D8373188E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9</a:t>
            </a:fld>
            <a:endParaRPr lang="de-DE" dirty="0"/>
          </a:p>
        </p:txBody>
      </p:sp>
      <p:pic>
        <p:nvPicPr>
          <p:cNvPr id="6" name="Picture 5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CA931C2D-652F-AAD3-CD95-6C01327AA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21551"/>
            <a:ext cx="6080772" cy="6443790"/>
          </a:xfrm>
          <a:prstGeom prst="rect">
            <a:avLst/>
          </a:prstGeom>
        </p:spPr>
      </p:pic>
      <p:pic>
        <p:nvPicPr>
          <p:cNvPr id="8" name="Picture 7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7A967D8C-A6DE-DB87-2145-4A121D941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624" y="218570"/>
            <a:ext cx="6080772" cy="644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033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E5FB0-4D01-714E-10B7-8FD72C42F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Method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D9085-21A6-6C67-2FB6-10E09A0DB5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91795-F643-74E7-18BF-2E4DF9ACA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pic>
        <p:nvPicPr>
          <p:cNvPr id="5" name="Picture 14" descr="5-axis machining centres with 5th axis in the tool | HELLER">
            <a:extLst>
              <a:ext uri="{FF2B5EF4-FFF2-40B4-BE49-F238E27FC236}">
                <a16:creationId xmlns:a16="http://schemas.microsoft.com/office/drawing/2014/main" id="{6BFF9072-C30F-DD2E-A0C2-9EC359329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4" t="1842" r="18486" b="692"/>
          <a:stretch/>
        </p:blipFill>
        <p:spPr bwMode="auto">
          <a:xfrm>
            <a:off x="425455" y="1808163"/>
            <a:ext cx="2608417" cy="228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The 6 degree of freedom industrial robot and its joints. | Download  Scientific Diagram">
            <a:extLst>
              <a:ext uri="{FF2B5EF4-FFF2-40B4-BE49-F238E27FC236}">
                <a16:creationId xmlns:a16="http://schemas.microsoft.com/office/drawing/2014/main" id="{57C329D2-900F-8C29-D67B-EC5CD32CD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833" y="1812784"/>
            <a:ext cx="3013108" cy="2278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E6EBBE-D329-95AF-5C34-EB41F8B41EE6}"/>
              </a:ext>
            </a:extLst>
          </p:cNvPr>
          <p:cNvSpPr txBox="1"/>
          <p:nvPr/>
        </p:nvSpPr>
        <p:spPr>
          <a:xfrm>
            <a:off x="3190829" y="2009835"/>
            <a:ext cx="2736305" cy="160043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 CNC milling the traversed toolpaths are usually defined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 5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 </a:t>
            </a:r>
          </a:p>
          <a:p>
            <a:pPr algn="l"/>
            <a:endParaRPr lang="en-US" sz="1400" dirty="0"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se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r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X,Y,Z (translatio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A,B (rotatio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3414F3-5865-1C44-F4E5-F6E8C0914595}"/>
              </a:ext>
            </a:extLst>
          </p:cNvPr>
          <p:cNvSpPr txBox="1"/>
          <p:nvPr/>
        </p:nvSpPr>
        <p:spPr>
          <a:xfrm>
            <a:off x="557874" y="4415437"/>
            <a:ext cx="604501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A 5-DoF toolpath does not fully specify the robots configuration.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While the toolpath defines the X, Y, and Z coordinates, as well 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as rotations A and B, rotation C is not defined and </a:t>
            </a:r>
            <a:r>
              <a:rPr lang="en-US" sz="1400" b="1" u="sng" dirty="0">
                <a:solidFill>
                  <a:schemeClr val="tx1"/>
                </a:solidFill>
                <a:latin typeface="+mn-lt"/>
              </a:rPr>
              <a:t>can be chosen freely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 rotation C is not affecting the toolpath but the way how this toolpath is traversed. Thus, it is considered a </a:t>
            </a:r>
            <a:r>
              <a:rPr lang="en-US" sz="1400" b="1" u="sng" dirty="0">
                <a:solidFill>
                  <a:schemeClr val="tx1"/>
                </a:solidFill>
                <a:latin typeface="+mn-lt"/>
              </a:rPr>
              <a:t>boundary conditio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279CD6-4C32-EB5C-389D-AF9FF81C2AC6}"/>
              </a:ext>
            </a:extLst>
          </p:cNvPr>
          <p:cNvSpPr txBox="1"/>
          <p:nvPr/>
        </p:nvSpPr>
        <p:spPr>
          <a:xfrm>
            <a:off x="9181116" y="1865758"/>
            <a:ext cx="252738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dustrial robots</a:t>
            </a:r>
            <a:r>
              <a:rPr lang="en-US" sz="1400" dirty="0">
                <a:latin typeface="+mn-lt"/>
              </a:rPr>
              <a:t> usually have 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6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nd are a great candidate for Wire Arc Additive Manufacturing (WAAM)</a:t>
            </a:r>
          </a:p>
          <a:p>
            <a:pPr algn="l"/>
            <a:endParaRPr lang="en-US" sz="1400" dirty="0"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y can also be used for CNC machining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34F18-B952-34AF-FB93-0BE4117E04BA}"/>
              </a:ext>
            </a:extLst>
          </p:cNvPr>
          <p:cNvSpPr txBox="1"/>
          <p:nvPr/>
        </p:nvSpPr>
        <p:spPr>
          <a:xfrm>
            <a:off x="7239853" y="4447503"/>
            <a:ext cx="4519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6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Redundancy in the system when performing a 5-DoF task in a 6-DoF system</a:t>
            </a:r>
          </a:p>
          <a:p>
            <a:pPr marL="285750" indent="-285750" algn="l">
              <a:buFont typeface="Wingdings" panose="05000000000000000000" pitchFamily="2" charset="2"/>
              <a:buChar char="è"/>
            </a:pPr>
            <a:endParaRPr lang="en-US" sz="1600" dirty="0">
              <a:solidFill>
                <a:schemeClr val="tx1"/>
              </a:solidFill>
              <a:latin typeface="+mn-lt"/>
              <a:sym typeface="Wingdings" panose="05000000000000000000" pitchFamily="2" charset="2"/>
            </a:endParaRPr>
          </a:p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6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How does the boundary condition affect the robot and how can we use the redundancy to our advantage?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795DA45-C860-A8CD-F3E1-E1C69DAFAA09}"/>
              </a:ext>
            </a:extLst>
          </p:cNvPr>
          <p:cNvSpPr/>
          <p:nvPr/>
        </p:nvSpPr>
        <p:spPr>
          <a:xfrm>
            <a:off x="7185112" y="4250120"/>
            <a:ext cx="4587788" cy="1931073"/>
          </a:xfrm>
          <a:prstGeom prst="roundRect">
            <a:avLst/>
          </a:prstGeom>
          <a:noFill/>
          <a:ln w="38100">
            <a:solidFill>
              <a:srgbClr val="5CF0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2BBE812-D25F-5678-67B6-333179CCE98A}"/>
              </a:ext>
            </a:extLst>
          </p:cNvPr>
          <p:cNvSpPr/>
          <p:nvPr/>
        </p:nvSpPr>
        <p:spPr>
          <a:xfrm>
            <a:off x="503132" y="4245957"/>
            <a:ext cx="6099753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6C43B6C-CB3B-8CA8-EBBB-32759133E8CA}"/>
              </a:ext>
            </a:extLst>
          </p:cNvPr>
          <p:cNvSpPr/>
          <p:nvPr/>
        </p:nvSpPr>
        <p:spPr>
          <a:xfrm>
            <a:off x="3118131" y="1844518"/>
            <a:ext cx="2736305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BFBD6EE-1FE8-0909-8E82-040903A5C032}"/>
              </a:ext>
            </a:extLst>
          </p:cNvPr>
          <p:cNvSpPr/>
          <p:nvPr/>
        </p:nvSpPr>
        <p:spPr>
          <a:xfrm>
            <a:off x="9043683" y="1808163"/>
            <a:ext cx="2736305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3400955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17" grpId="0" animBg="1"/>
      <p:bldP spid="6" grpId="0" animBg="1"/>
      <p:bldP spid="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55558-093E-7E37-B488-95E501CC6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arm Optimiz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9072E4-FB04-EF22-1766-F443AF3887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95427A-4ECE-A9F2-285E-E3724B66C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0</a:t>
            </a:fld>
            <a:endParaRPr lang="de-DE" dirty="0"/>
          </a:p>
        </p:txBody>
      </p:sp>
      <p:pic>
        <p:nvPicPr>
          <p:cNvPr id="6" name="Picture 5" descr="A diagram of a flowchart&#10;&#10;Description automatically generated">
            <a:extLst>
              <a:ext uri="{FF2B5EF4-FFF2-40B4-BE49-F238E27FC236}">
                <a16:creationId xmlns:a16="http://schemas.microsoft.com/office/drawing/2014/main" id="{523ED34B-209C-B487-C527-555C485B92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2204864"/>
            <a:ext cx="11106690" cy="385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28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C2AAB-FC74-4572-C72D-3AB3F3A89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ample: Traversing a </a:t>
            </a:r>
            <a:r>
              <a:rPr lang="en-US" dirty="0"/>
              <a:t>Toolpath W</a:t>
            </a:r>
            <a:r>
              <a:rPr lang="en-US" dirty="0">
                <a:solidFill>
                  <a:schemeClr val="tx1"/>
                </a:solidFill>
              </a:rPr>
              <a:t>ith </a:t>
            </a:r>
            <a:r>
              <a:rPr lang="en-US" dirty="0"/>
              <a:t>D</a:t>
            </a:r>
            <a:r>
              <a:rPr lang="en-US" dirty="0">
                <a:solidFill>
                  <a:schemeClr val="tx1"/>
                </a:solidFill>
              </a:rPr>
              <a:t>ifferent C-Ro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5C9139-C394-1DD5-0DAC-536B951DE5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AB1E-071D-191A-D1D2-105BDF659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3BBFF0-4F7D-2798-AE36-E68F73954D08}"/>
              </a:ext>
            </a:extLst>
          </p:cNvPr>
          <p:cNvSpPr>
            <a:spLocks noChangeAspect="1"/>
          </p:cNvSpPr>
          <p:nvPr/>
        </p:nvSpPr>
        <p:spPr>
          <a:xfrm>
            <a:off x="6604528" y="2125945"/>
            <a:ext cx="4945907" cy="2782073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BCD35E-7C01-DDBC-087D-D761A63CFAE4}"/>
              </a:ext>
            </a:extLst>
          </p:cNvPr>
          <p:cNvSpPr>
            <a:spLocks noChangeAspect="1"/>
          </p:cNvSpPr>
          <p:nvPr/>
        </p:nvSpPr>
        <p:spPr>
          <a:xfrm>
            <a:off x="695400" y="2193903"/>
            <a:ext cx="4945907" cy="2782073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2B30EEF-03A4-B604-0B50-DE8D6B0C17FF}"/>
              </a:ext>
            </a:extLst>
          </p:cNvPr>
          <p:cNvSpPr txBox="1">
            <a:spLocks/>
          </p:cNvSpPr>
          <p:nvPr/>
        </p:nvSpPr>
        <p:spPr>
          <a:xfrm>
            <a:off x="1775520" y="1808163"/>
            <a:ext cx="2934241" cy="38574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otation C = 0°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96D8B4-3356-23C3-9642-37BC4757CBBE}"/>
              </a:ext>
            </a:extLst>
          </p:cNvPr>
          <p:cNvSpPr txBox="1">
            <a:spLocks/>
          </p:cNvSpPr>
          <p:nvPr/>
        </p:nvSpPr>
        <p:spPr>
          <a:xfrm>
            <a:off x="7731648" y="1808163"/>
            <a:ext cx="2522727" cy="33183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otation C = -30°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3958220-3592-7D5C-8FCD-0E2CC454F92D}"/>
              </a:ext>
            </a:extLst>
          </p:cNvPr>
          <p:cNvSpPr txBox="1">
            <a:spLocks/>
          </p:cNvSpPr>
          <p:nvPr/>
        </p:nvSpPr>
        <p:spPr>
          <a:xfrm>
            <a:off x="6984409" y="5195473"/>
            <a:ext cx="4752528" cy="109038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dirty="0">
                <a:solidFill>
                  <a:schemeClr val="tx1"/>
                </a:solidFill>
              </a:rPr>
              <a:t>The influenced </a:t>
            </a:r>
            <a:r>
              <a:rPr lang="en-US" sz="1400" b="1" u="sng" dirty="0">
                <a:solidFill>
                  <a:schemeClr val="tx1"/>
                </a:solidFill>
              </a:rPr>
              <a:t>process variables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are for example: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</a:rPr>
              <a:t>Direction changes in the joints, accelerations</a:t>
            </a:r>
            <a:r>
              <a:rPr lang="en-US" sz="1400" dirty="0"/>
              <a:t>, </a:t>
            </a:r>
            <a:r>
              <a:rPr lang="en-US" sz="1400" dirty="0">
                <a:solidFill>
                  <a:schemeClr val="tx1"/>
                </a:solidFill>
              </a:rPr>
              <a:t>energy consumption, cable positioning, stiffness etc.</a:t>
            </a:r>
            <a:endParaRPr lang="en-US" sz="1400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106792C-D533-9D23-49FA-E3161EE8CF00}"/>
              </a:ext>
            </a:extLst>
          </p:cNvPr>
          <p:cNvSpPr/>
          <p:nvPr/>
        </p:nvSpPr>
        <p:spPr>
          <a:xfrm>
            <a:off x="6604528" y="5195473"/>
            <a:ext cx="4945907" cy="1223687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3ABD68-8A6D-56B2-E116-83238E0E5CEF}"/>
              </a:ext>
            </a:extLst>
          </p:cNvPr>
          <p:cNvSpPr txBox="1"/>
          <p:nvPr/>
        </p:nvSpPr>
        <p:spPr>
          <a:xfrm>
            <a:off x="1068289" y="5358286"/>
            <a:ext cx="42001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The different setting of the rotation C (rotation around the axis of the tool) significantly influences the behavior of the robot.</a:t>
            </a:r>
            <a:r>
              <a:rPr lang="en-US" sz="1400" dirty="0"/>
              <a:t> </a:t>
            </a:r>
            <a:endParaRPr lang="en-DE" sz="140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1003C33-EAB0-95EF-7523-03602FA136FB}"/>
              </a:ext>
            </a:extLst>
          </p:cNvPr>
          <p:cNvSpPr/>
          <p:nvPr/>
        </p:nvSpPr>
        <p:spPr>
          <a:xfrm>
            <a:off x="695400" y="5181625"/>
            <a:ext cx="4945907" cy="1235050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2945313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2" grpId="0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E94C4-72D2-E48B-14D5-91B8F7414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Shortcomings in Current Methodologi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2CE91B-85A1-5CF8-B7C3-002F26120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EAAE1-31F1-AA48-8BA0-01F95F02D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3B41A7D-39DA-D8EC-AB1D-C2D1B5A2E566}"/>
              </a:ext>
            </a:extLst>
          </p:cNvPr>
          <p:cNvSpPr/>
          <p:nvPr/>
        </p:nvSpPr>
        <p:spPr>
          <a:xfrm>
            <a:off x="406946" y="177651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o currently published method allows the user to select specific process variables to evaluate a proces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29C95CA-728B-5073-A737-A1031731EBBA}"/>
              </a:ext>
            </a:extLst>
          </p:cNvPr>
          <p:cNvSpPr/>
          <p:nvPr/>
        </p:nvSpPr>
        <p:spPr>
          <a:xfrm>
            <a:off x="397843" y="301984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s of now, it is not possible to weigh individual process parameters and thus describe the manufacturing process as a singular scalar value</a:t>
            </a:r>
            <a:endParaRPr lang="en-DE" sz="1600" dirty="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22F90B-8F47-4E6E-109F-11A86F3BC7A8}"/>
              </a:ext>
            </a:extLst>
          </p:cNvPr>
          <p:cNvSpPr/>
          <p:nvPr/>
        </p:nvSpPr>
        <p:spPr>
          <a:xfrm>
            <a:off x="397843" y="426317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o available method provides a solution to optimize boundary conditions based on a user defined goa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9C578BD-1FF8-A5A5-E917-93DB8B522C69}"/>
              </a:ext>
            </a:extLst>
          </p:cNvPr>
          <p:cNvSpPr/>
          <p:nvPr/>
        </p:nvSpPr>
        <p:spPr>
          <a:xfrm>
            <a:off x="6304749" y="1776512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vide a method that can work with specifically selected process variables and rate a manufacturing proces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0A5182-AE70-A027-BC8A-17BDE789B525}"/>
              </a:ext>
            </a:extLst>
          </p:cNvPr>
          <p:cNvSpPr/>
          <p:nvPr/>
        </p:nvSpPr>
        <p:spPr>
          <a:xfrm>
            <a:off x="6304749" y="3019842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xtend the developed method with the option to add user-defined importance factor (weights) for the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rocess variables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8CA3243-564B-3929-C0EA-ED1A3D37771E}"/>
              </a:ext>
            </a:extLst>
          </p:cNvPr>
          <p:cNvSpPr/>
          <p:nvPr/>
        </p:nvSpPr>
        <p:spPr>
          <a:xfrm>
            <a:off x="6304749" y="4299014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vide system that can optimize the boundary conditions while considering the user defined goal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D6B12537-421A-A93F-BA33-68D3535B8E23}"/>
              </a:ext>
            </a:extLst>
          </p:cNvPr>
          <p:cNvSpPr/>
          <p:nvPr/>
        </p:nvSpPr>
        <p:spPr>
          <a:xfrm>
            <a:off x="4942461" y="5555961"/>
            <a:ext cx="2311000" cy="681351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Analyze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0C15C41-4CFA-4227-F6CF-E00E6A34C031}"/>
              </a:ext>
            </a:extLst>
          </p:cNvPr>
          <p:cNvSpPr/>
          <p:nvPr/>
        </p:nvSpPr>
        <p:spPr>
          <a:xfrm>
            <a:off x="7071989" y="5555413"/>
            <a:ext cx="2311000" cy="681352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Optimize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52BEFE9D-DC58-6469-771C-2813B00C710A}"/>
              </a:ext>
            </a:extLst>
          </p:cNvPr>
          <p:cNvSpPr/>
          <p:nvPr/>
        </p:nvSpPr>
        <p:spPr>
          <a:xfrm>
            <a:off x="2809013" y="5559823"/>
            <a:ext cx="2311000" cy="681351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Describe</a:t>
            </a:r>
            <a:endParaRPr lang="en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261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0B5A2-C01F-AF7A-7DF6-BA584B2BF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boration of the Research Gap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7C5E2-3BDA-1934-7AAC-0302C7D2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State of the Ar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B9A6B-CBF9-EB38-145F-80F049583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6B4D8D1-7F04-D86A-D6B1-B9DCF06EF503}"/>
              </a:ext>
            </a:extLst>
          </p:cNvPr>
          <p:cNvSpPr/>
          <p:nvPr/>
        </p:nvSpPr>
        <p:spPr>
          <a:xfrm>
            <a:off x="1940194" y="3227099"/>
            <a:ext cx="2272099" cy="2141287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 anchorCtr="0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Stiffness:</a:t>
            </a:r>
          </a:p>
          <a:p>
            <a:pPr algn="r"/>
            <a:r>
              <a:rPr lang="en-US" sz="1400" dirty="0">
                <a:solidFill>
                  <a:schemeClr val="tx1"/>
                </a:solidFill>
              </a:rPr>
              <a:t>[9],[11],[12]</a:t>
            </a:r>
            <a:endParaRPr lang="en-DE" sz="1400" dirty="0">
              <a:solidFill>
                <a:schemeClr val="tx1"/>
              </a:solidFill>
            </a:endParaRPr>
          </a:p>
          <a:p>
            <a:pPr algn="r"/>
            <a:endParaRPr lang="en-DE" sz="14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CFDC782-5A41-BB60-3A6B-64A91BE4FE1B}"/>
              </a:ext>
            </a:extLst>
          </p:cNvPr>
          <p:cNvSpPr/>
          <p:nvPr/>
        </p:nvSpPr>
        <p:spPr>
          <a:xfrm>
            <a:off x="2135560" y="1715733"/>
            <a:ext cx="2448272" cy="2513316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Velocity, Acceleration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Jerk: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[6],[7],[8]</a:t>
            </a:r>
            <a:endParaRPr lang="en-DE" sz="1400" dirty="0">
              <a:solidFill>
                <a:schemeClr val="tx1"/>
              </a:solidFill>
            </a:endParaRPr>
          </a:p>
          <a:p>
            <a:pPr algn="ctr"/>
            <a:endParaRPr lang="en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BFC2228-028F-612D-EEC5-6C14BE22143F}"/>
              </a:ext>
            </a:extLst>
          </p:cNvPr>
          <p:cNvSpPr/>
          <p:nvPr/>
        </p:nvSpPr>
        <p:spPr>
          <a:xfrm>
            <a:off x="451376" y="4621227"/>
            <a:ext cx="1440000" cy="144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nergy Usage: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[13],[14],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[15]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494E38-7F3E-A10E-0213-E4EAACB1FA5F}"/>
              </a:ext>
            </a:extLst>
          </p:cNvPr>
          <p:cNvSpPr/>
          <p:nvPr/>
        </p:nvSpPr>
        <p:spPr>
          <a:xfrm>
            <a:off x="700545" y="2202427"/>
            <a:ext cx="2272099" cy="2141287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r>
              <a:rPr lang="en-US" sz="1400" dirty="0">
                <a:solidFill>
                  <a:schemeClr val="tx1"/>
                </a:solidFill>
              </a:rPr>
              <a:t>Singularity Avoidance:</a:t>
            </a:r>
          </a:p>
          <a:p>
            <a:r>
              <a:rPr lang="en-US" sz="1400" dirty="0">
                <a:solidFill>
                  <a:schemeClr val="tx1"/>
                </a:solidFill>
              </a:rPr>
              <a:t>[1],[2],[3],</a:t>
            </a:r>
          </a:p>
          <a:p>
            <a:r>
              <a:rPr lang="en-US" sz="1400" dirty="0">
                <a:solidFill>
                  <a:schemeClr val="tx1"/>
                </a:solidFill>
              </a:rPr>
              <a:t>[4],[5]</a:t>
            </a:r>
            <a:endParaRPr lang="en-DE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D5A595-C370-A1C4-EB49-92690965782F}"/>
              </a:ext>
            </a:extLst>
          </p:cNvPr>
          <p:cNvSpPr txBox="1"/>
          <p:nvPr/>
        </p:nvSpPr>
        <p:spPr>
          <a:xfrm>
            <a:off x="6815946" y="1840516"/>
            <a:ext cx="5017424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1] Singularity avoidance and aspect maintenance in redundant manipulators</a:t>
            </a:r>
            <a:br>
              <a:rPr lang="en-US" sz="700" i="0" dirty="0">
                <a:solidFill>
                  <a:srgbClr val="333333"/>
                </a:solidFill>
                <a:effectLst/>
                <a:latin typeface="+mn-lt"/>
              </a:rPr>
            </a:b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     (R. Stevenson; B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Shirinzadeh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; G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Alici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2002)</a:t>
            </a:r>
          </a:p>
          <a:p>
            <a:r>
              <a:rPr lang="en-US" sz="700" dirty="0">
                <a:solidFill>
                  <a:srgbClr val="333333"/>
                </a:solidFill>
                <a:latin typeface="+mn-lt"/>
              </a:rPr>
              <a:t>  [2]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Classification of singular configurations for redundant manipulators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Nazareth Bedrossian 1990)</a:t>
            </a:r>
          </a:p>
          <a:p>
            <a:r>
              <a:rPr lang="en-US" sz="700" dirty="0">
                <a:solidFill>
                  <a:srgbClr val="333333"/>
                </a:solidFill>
                <a:latin typeface="+mn-lt"/>
              </a:rPr>
              <a:t>  [3] T</a:t>
            </a:r>
            <a:r>
              <a:rPr lang="en-US" sz="700" b="0" i="0" dirty="0">
                <a:effectLst/>
                <a:latin typeface="+mn-lt"/>
              </a:rPr>
              <a:t>he joint‐limits and singularity avoidance in robotic welding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(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Liguo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Huo, Luc Baron 2008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4] Wrist singularity avoidance with a robot end-effector adding an oblique, redundant axis (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Paul</a:t>
            </a:r>
            <a:r>
              <a:rPr lang="en-US" sz="700" u="sng" dirty="0">
                <a:solidFill>
                  <a:srgbClr val="1F1F1F"/>
                </a:solidFill>
                <a:latin typeface="+mn-lt"/>
              </a:rPr>
              <a:t> 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Milenkovic 2021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5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] Kinematics and Singularity Analysis of a 7-DOF Redundant Manipulator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(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Xiaohua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Shi, Yu Guo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Xuech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Chen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Ziming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Chen, and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Zhiwei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Yang 2021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6] Planning Jerk-Optimized Trajectory With Discrete Time Constraints for Redundant Robots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Chengkai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Dai; Sylvain Lefebvre; Kai-Ming Yu; Jo M. P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Geraedts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; Charlie C. L. Wang 2020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7] Time-Jerk Optimal Trajectory Planning for a 7-DOF Redundant Robot Using the Sequential Quadratic</a:t>
            </a:r>
            <a:br>
              <a:rPr lang="en-US" sz="700" dirty="0">
                <a:solidFill>
                  <a:srgbClr val="333333"/>
                </a:solidFill>
                <a:latin typeface="+mn-lt"/>
              </a:rPr>
            </a:br>
            <a:r>
              <a:rPr lang="en-US" sz="700" dirty="0">
                <a:solidFill>
                  <a:srgbClr val="333333"/>
                </a:solidFill>
                <a:latin typeface="+mn-lt"/>
              </a:rPr>
              <a:t>       Programming Method (Li Jiang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Shaoti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Lu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Yiku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Gu &amp;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Jingdong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Zhao 2017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8] On the Effect of the End-effector Point Trajectory on the Joint Jerk of the Redundant Manipulators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Xuan Bien Duong 2021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9] Review of Industrial Robot Stiffness Identification and Modelling  (Kai Wu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Jiaqu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Li, Huan Zhao, Yong Zhong 2021)</a:t>
            </a:r>
          </a:p>
          <a:p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[10]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Stiffness-based Pose Optimization of an Industrial Robot for Five-axis Milling (Gang Xiong, Ye Ding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Limin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Zhu 2019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1] Optimization of redundant degree of freedom in robotic milling considering chatter stability</a:t>
            </a:r>
            <a:br>
              <a:rPr lang="en-US" sz="700" dirty="0">
                <a:solidFill>
                  <a:srgbClr val="111111"/>
                </a:solidFill>
                <a:latin typeface="+mn-lt"/>
              </a:rPr>
            </a:br>
            <a:r>
              <a:rPr lang="en-US" sz="700" dirty="0">
                <a:solidFill>
                  <a:srgbClr val="111111"/>
                </a:solidFill>
                <a:latin typeface="+mn-lt"/>
              </a:rPr>
              <a:t>       (</a:t>
            </a:r>
            <a:r>
              <a:rPr lang="en-US" sz="700" dirty="0" err="1">
                <a:solidFill>
                  <a:srgbClr val="111111"/>
                </a:solidFill>
                <a:latin typeface="+mn-lt"/>
              </a:rPr>
              <a:t>Linwei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 Wang, Yu Liu, Ye Yu, </a:t>
            </a:r>
            <a:r>
              <a:rPr lang="en-US" sz="700" dirty="0" err="1">
                <a:solidFill>
                  <a:srgbClr val="111111"/>
                </a:solidFill>
                <a:latin typeface="+mn-lt"/>
              </a:rPr>
              <a:t>Jinyu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 Zhang &amp; Bin Shu 2022)</a:t>
            </a:r>
          </a:p>
          <a:p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[12] Pose optimization in robotic machining using static and dynamic stiffness models</a:t>
            </a:r>
            <a:b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</a:b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      (Toni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Cvitanic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, Vinh Nguyen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Shreyes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N. Melkote 2020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3] Energy Efficient Usage of Industrial Robots for Machining Processes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       (</a:t>
            </a:r>
            <a:r>
              <a:rPr lang="de-DE" sz="700" dirty="0">
                <a:solidFill>
                  <a:srgbClr val="111111"/>
                </a:solidFill>
                <a:latin typeface="+mn-lt"/>
              </a:rPr>
              <a:t>Eckart Uhlmann, Sascha Reinkober, Tobias Hollerbach 2016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)</a:t>
            </a:r>
          </a:p>
          <a:p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[14] Energy Optimization of Functionally Redundant Robots through Motion Design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      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(</a:t>
            </a:r>
            <a:r>
              <a:rPr lang="it-IT" sz="700" b="0" i="0" dirty="0">
                <a:solidFill>
                  <a:srgbClr val="111111"/>
                </a:solidFill>
                <a:effectLst/>
                <a:latin typeface="+mn-lt"/>
              </a:rPr>
              <a:t>Boscariol, Paolo, Roberto Caracciolo, Dario </a:t>
            </a:r>
            <a:r>
              <a:rPr lang="it-IT" sz="700" b="0" i="0" dirty="0" err="1">
                <a:solidFill>
                  <a:srgbClr val="111111"/>
                </a:solidFill>
                <a:effectLst/>
                <a:latin typeface="+mn-lt"/>
              </a:rPr>
              <a:t>Richiedei</a:t>
            </a:r>
            <a:r>
              <a:rPr lang="it-IT" sz="700" b="0" i="0" dirty="0">
                <a:solidFill>
                  <a:srgbClr val="111111"/>
                </a:solidFill>
                <a:effectLst/>
                <a:latin typeface="+mn-lt"/>
              </a:rPr>
              <a:t>, and Alberto Trevisani. 2020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5] 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Optimization of energy consumption in industrial robots, a review </a:t>
            </a:r>
            <a:b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</a:b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      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(Mohsen Soori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Behrooz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Arezoo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Roza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Dastres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2015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40BB7B-7B05-A3A6-6B2A-1BC372E890C9}"/>
              </a:ext>
            </a:extLst>
          </p:cNvPr>
          <p:cNvSpPr txBox="1"/>
          <p:nvPr/>
        </p:nvSpPr>
        <p:spPr>
          <a:xfrm>
            <a:off x="2307757" y="3408601"/>
            <a:ext cx="605491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 [10]</a:t>
            </a:r>
            <a:endParaRPr lang="en-DE" sz="16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BA3DB9-B321-3700-74D5-ABF5D82FE374}"/>
              </a:ext>
            </a:extLst>
          </p:cNvPr>
          <p:cNvSpPr/>
          <p:nvPr/>
        </p:nvSpPr>
        <p:spPr>
          <a:xfrm>
            <a:off x="4390147" y="3819206"/>
            <a:ext cx="1800000" cy="180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r defined process variabl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A6A5B27-A5ED-1605-E11B-D57B73B79E75}"/>
              </a:ext>
            </a:extLst>
          </p:cNvPr>
          <p:cNvSpPr/>
          <p:nvPr/>
        </p:nvSpPr>
        <p:spPr>
          <a:xfrm>
            <a:off x="4859150" y="1891633"/>
            <a:ext cx="1800000" cy="180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r defined importanc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7F41247-4BF6-0311-8FCE-3E2D5353A477}"/>
              </a:ext>
            </a:extLst>
          </p:cNvPr>
          <p:cNvSpPr/>
          <p:nvPr/>
        </p:nvSpPr>
        <p:spPr>
          <a:xfrm>
            <a:off x="6889113" y="4725144"/>
            <a:ext cx="4871091" cy="1687044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o method gives the user the possibility to weigh the individual process variables in relation to each other and optimize the setting of redundant </a:t>
            </a:r>
            <a:r>
              <a:rPr lang="en-US" sz="1400" dirty="0" err="1">
                <a:solidFill>
                  <a:schemeClr val="tx1"/>
                </a:solidFill>
              </a:rPr>
              <a:t>DoFs</a:t>
            </a:r>
            <a:r>
              <a:rPr lang="en-US" sz="1400" dirty="0">
                <a:solidFill>
                  <a:schemeClr val="tx1"/>
                </a:solidFill>
              </a:rPr>
              <a:t> towards a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user-defined goal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86951F2-6A16-F971-6040-81AEC9C56C50}"/>
              </a:ext>
            </a:extLst>
          </p:cNvPr>
          <p:cNvGrpSpPr/>
          <p:nvPr/>
        </p:nvGrpSpPr>
        <p:grpSpPr>
          <a:xfrm>
            <a:off x="2114253" y="5746780"/>
            <a:ext cx="4297732" cy="584775"/>
            <a:chOff x="1991544" y="5589240"/>
            <a:chExt cx="4297732" cy="58477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F148429-3357-7759-1677-1F135D171775}"/>
                </a:ext>
              </a:extLst>
            </p:cNvPr>
            <p:cNvSpPr txBox="1"/>
            <p:nvPr/>
          </p:nvSpPr>
          <p:spPr>
            <a:xfrm>
              <a:off x="1991544" y="5589240"/>
              <a:ext cx="429773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marginal overlap in the public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now no method takes a holistic approach</a:t>
              </a:r>
              <a:endParaRPr lang="en-DE" sz="1600" dirty="0">
                <a:latin typeface="+mn-lt"/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58121285-A197-8CFF-9417-8467711F12CE}"/>
                </a:ext>
              </a:extLst>
            </p:cNvPr>
            <p:cNvSpPr/>
            <p:nvPr/>
          </p:nvSpPr>
          <p:spPr>
            <a:xfrm>
              <a:off x="2071183" y="568484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3B2BCDB8-87A9-4CC6-3BAF-CDF59AC80430}"/>
                </a:ext>
              </a:extLst>
            </p:cNvPr>
            <p:cNvSpPr/>
            <p:nvPr/>
          </p:nvSpPr>
          <p:spPr>
            <a:xfrm>
              <a:off x="2071183" y="592918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26800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on of Process Variabl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  <p:pic>
        <p:nvPicPr>
          <p:cNvPr id="6" name="Picture 5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477E04AF-4757-DD30-EBC8-312EF4E18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1700808"/>
            <a:ext cx="7483982" cy="40324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8056254-50C5-E3B8-5FF3-B8B4F96D2A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3931" y="3482346"/>
            <a:ext cx="4264286" cy="2936278"/>
          </a:xfrm>
          <a:prstGeom prst="rect">
            <a:avLst/>
          </a:prstGeom>
        </p:spPr>
      </p:pic>
      <p:sp>
        <p:nvSpPr>
          <p:cNvPr id="11" name="Left Brace 10">
            <a:extLst>
              <a:ext uri="{FF2B5EF4-FFF2-40B4-BE49-F238E27FC236}">
                <a16:creationId xmlns:a16="http://schemas.microsoft.com/office/drawing/2014/main" id="{38AF6353-78F6-1E04-DCCD-047B88C96BC3}"/>
              </a:ext>
            </a:extLst>
          </p:cNvPr>
          <p:cNvSpPr/>
          <p:nvPr/>
        </p:nvSpPr>
        <p:spPr>
          <a:xfrm>
            <a:off x="7104112" y="3480397"/>
            <a:ext cx="360040" cy="2936278"/>
          </a:xfrm>
          <a:prstGeom prst="leftBrace">
            <a:avLst>
              <a:gd name="adj1" fmla="val 71283"/>
              <a:gd name="adj2" fmla="val 4654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76034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eglerentwurf und Validierung"/>
  <p:tag name="EE4P_AGENDAWIZARD_PROPERTIES" val="61.12504/243.3892/233.2558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4"/>
  <p:tag name="EE4P_AGENDAWIZARD_PROPERTIES" val="31.12504/243.3892/2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ystemaufbau"/>
  <p:tag name="EE4P_AGENDAWIZARD_PROPERTIES" val="61.12504/206.8845/233.2558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06.8845/2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tand der Technik"/>
  <p:tag name="EE4P_AGENDAWIZARD_PROPERTIES" val="61.12504/170.3798/233.2558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2"/>
  <p:tag name="EE4P_AGENDAWIZARD_PROPERTIES" val="31.12504/170.3798/25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Motivation und Grundlagen"/>
  <p:tag name="EE4P_AGENDAWIZARD_PROPERTIES" val="61.12504/133.875/233.2558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25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AC16B009-AFFA-4495-AE57-B09ABBB6FD51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370F9FDD-E146-4643-ABE8-7FFA402BBFC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28</Words>
  <Application>Microsoft Office PowerPoint</Application>
  <PresentationFormat>Widescreen</PresentationFormat>
  <Paragraphs>241</Paragraphs>
  <Slides>5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0" baseType="lpstr">
      <vt:lpstr>Arial</vt:lpstr>
      <vt:lpstr>Calibri</vt:lpstr>
      <vt:lpstr>CharterBT-Roman</vt:lpstr>
      <vt:lpstr>Courier New</vt:lpstr>
      <vt:lpstr>ElsevierSans</vt:lpstr>
      <vt:lpstr>Symbol</vt:lpstr>
      <vt:lpstr>Wingdings</vt:lpstr>
      <vt:lpstr>Titelfolie</vt:lpstr>
      <vt:lpstr>Inhaltsfolien</vt:lpstr>
      <vt:lpstr>think-cell Folie</vt:lpstr>
      <vt:lpstr>Methodical Approach for Analyzing Process Variables and Optimizing Boundary Conditions in Multi-Axis Robot Programs</vt:lpstr>
      <vt:lpstr>Table of Contents</vt:lpstr>
      <vt:lpstr>Growth of Industrial Robot Usage</vt:lpstr>
      <vt:lpstr>Industrial Applications of Robotics</vt:lpstr>
      <vt:lpstr>Manufacturing Methods</vt:lpstr>
      <vt:lpstr>Example: Traversing a Toolpath With Different C-Rotation</vt:lpstr>
      <vt:lpstr>Shortcomings in Current Methodologies</vt:lpstr>
      <vt:lpstr>Elaboration of the Research Gap </vt:lpstr>
      <vt:lpstr>Extraction of Process Variables</vt:lpstr>
      <vt:lpstr>Incorporation of User Defined Importance Factors</vt:lpstr>
      <vt:lpstr>Transforming Time-Series Data into Scalar Values </vt:lpstr>
      <vt:lpstr>General Process Analysis</vt:lpstr>
      <vt:lpstr>Boundary Condition Optimization</vt:lpstr>
      <vt:lpstr>Modeled Robot and Analyzed Toolpath </vt:lpstr>
      <vt:lpstr>Extracting Joint Positions</vt:lpstr>
      <vt:lpstr>Local and Global Score</vt:lpstr>
      <vt:lpstr>Addition of a Second Redundant DoF in Form of a Rotary-Tilt-Table</vt:lpstr>
      <vt:lpstr>Implementation of a PSO-Algorithm</vt:lpstr>
      <vt:lpstr>Visualization of the PSO-Algorithm </vt:lpstr>
      <vt:lpstr>Valid Proof Of Concept</vt:lpstr>
      <vt:lpstr>Contact</vt:lpstr>
      <vt:lpstr>CNC machines</vt:lpstr>
      <vt:lpstr>Industrial Robot</vt:lpstr>
      <vt:lpstr>Manufacturing Systems with Redundant DoFs</vt:lpstr>
      <vt:lpstr>Singularity</vt:lpstr>
      <vt:lpstr>Interdependence of various parameters and elements</vt:lpstr>
      <vt:lpstr>Additional information for angular position of each joint</vt:lpstr>
      <vt:lpstr>Hard and soft limits with desired range</vt:lpstr>
      <vt:lpstr>Exemplary methods for energy usage calculations</vt:lpstr>
      <vt:lpstr>Rotation around the C-Axis of a welding torch</vt:lpstr>
      <vt:lpstr>Torch Orientation</vt:lpstr>
      <vt:lpstr>Optimization Loop With CAM Software in the Loop</vt:lpstr>
      <vt:lpstr>Modeled Robot</vt:lpstr>
      <vt:lpstr>Modeling a Basic Toolpath</vt:lpstr>
      <vt:lpstr>Rotation around the Z-axis for toolpath 1</vt:lpstr>
      <vt:lpstr>Toolpath 2 </vt:lpstr>
      <vt:lpstr>Toolpath 3</vt:lpstr>
      <vt:lpstr>G-code Variation </vt:lpstr>
      <vt:lpstr>Toolpath 2 and Score</vt:lpstr>
      <vt:lpstr>Toolpath 3 and Score</vt:lpstr>
      <vt:lpstr>PowerPoint Presentation</vt:lpstr>
      <vt:lpstr>Rotation toolpath 2</vt:lpstr>
      <vt:lpstr>Toolpath 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warm Optimization 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Bernauer</dc:creator>
  <cp:lastModifiedBy>Nalivaika, Jan (ext) (T AMC FMP-DE)</cp:lastModifiedBy>
  <cp:revision>42</cp:revision>
  <cp:lastPrinted>2015-07-30T14:04:45Z</cp:lastPrinted>
  <dcterms:created xsi:type="dcterms:W3CDTF">2022-01-29T16:55:15Z</dcterms:created>
  <dcterms:modified xsi:type="dcterms:W3CDTF">2024-02-14T10:52:50Z</dcterms:modified>
</cp:coreProperties>
</file>